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6" r:id="rId4"/>
  </p:sldMasterIdLst>
  <p:notesMasterIdLst>
    <p:notesMasterId r:id="rId15"/>
  </p:notesMasterIdLst>
  <p:sldIdLst>
    <p:sldId id="265" r:id="rId5"/>
    <p:sldId id="831" r:id="rId6"/>
    <p:sldId id="890" r:id="rId7"/>
    <p:sldId id="909" r:id="rId8"/>
    <p:sldId id="903" r:id="rId9"/>
    <p:sldId id="902" r:id="rId10"/>
    <p:sldId id="911" r:id="rId11"/>
    <p:sldId id="905" r:id="rId12"/>
    <p:sldId id="910" r:id="rId13"/>
    <p:sldId id="82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5562026-4D8A-C9FA-757F-561ECF3E782F}" name="Kaoru Inoue" initials="KI" userId="S::kaoru.inoue@gesi.org::d80b6265-949f-4c8b-b4dc-e2af7d26f536" providerId="AD"/>
  <p188:author id="{6389104F-7BDA-1640-F8B3-ECDEBDFDCD3B}" name="Flavia Maragno" initials="FM" userId="S::Flavia.Maragno@gesi.org::e96e43f3-747a-4690-bdb7-7997788e646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iara Venturini" initials="CV" lastIdx="1" clrIdx="0">
    <p:extLst>
      <p:ext uri="{19B8F6BF-5375-455C-9EA6-DF929625EA0E}">
        <p15:presenceInfo xmlns:p15="http://schemas.microsoft.com/office/powerpoint/2012/main" userId="Chiara Venturini" providerId="None"/>
      </p:ext>
    </p:extLst>
  </p:cmAuthor>
  <p:cmAuthor id="2" name="Luis Neves" initials="LN" lastIdx="13" clrIdx="1">
    <p:extLst>
      <p:ext uri="{19B8F6BF-5375-455C-9EA6-DF929625EA0E}">
        <p15:presenceInfo xmlns:p15="http://schemas.microsoft.com/office/powerpoint/2012/main" userId="S::luis.neves@gesi.org::51dbc90b-dde6-4b83-93fe-54671fd4a17d" providerId="AD"/>
      </p:ext>
    </p:extLst>
  </p:cmAuthor>
  <p:cmAuthor id="3" name="Kaoru Inoue" initials="KI" lastIdx="21" clrIdx="2">
    <p:extLst>
      <p:ext uri="{19B8F6BF-5375-455C-9EA6-DF929625EA0E}">
        <p15:presenceInfo xmlns:p15="http://schemas.microsoft.com/office/powerpoint/2012/main" userId="S::kaoru.inoue@gesi.org::d80b6265-949f-4c8b-b4dc-e2af7d26f5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91"/>
    <a:srgbClr val="8CC63F"/>
    <a:srgbClr val="0E62D0"/>
    <a:srgbClr val="5AA032"/>
    <a:srgbClr val="CCFF99"/>
    <a:srgbClr val="CCFFCC"/>
    <a:srgbClr val="AEF9FF"/>
    <a:srgbClr val="FDD300"/>
    <a:srgbClr val="86F20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18C416-E36A-4E95-AB9D-C5226B601343}" v="7" dt="2022-12-04T22:04:23.3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301F00-1615-43B2-861B-FDEEA8E4B90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3680B6D-AC17-46ED-8161-D3F0D8BED428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Corbel" panose="020B0503020204020204" pitchFamily="34" charset="0"/>
            </a:rPr>
            <a:t>58 Registrations (22 in-person, 36 online) </a:t>
          </a:r>
          <a:endParaRPr lang="en-US" dirty="0">
            <a:latin typeface="Corbel" panose="020B0503020204020204" pitchFamily="34" charset="0"/>
          </a:endParaRPr>
        </a:p>
      </dgm:t>
    </dgm:pt>
    <dgm:pt modelId="{2EA239A6-760B-4A65-A846-8993C8D335DE}" type="parTrans" cxnId="{8A1F1BD5-8F16-483C-8BBB-48C9FFB19EFA}">
      <dgm:prSet/>
      <dgm:spPr/>
      <dgm:t>
        <a:bodyPr/>
        <a:lstStyle/>
        <a:p>
          <a:endParaRPr lang="en-US"/>
        </a:p>
      </dgm:t>
    </dgm:pt>
    <dgm:pt modelId="{C5C84FD9-CDCD-4A7C-873A-50DE9947382F}" type="sibTrans" cxnId="{8A1F1BD5-8F16-483C-8BBB-48C9FFB19EFA}">
      <dgm:prSet/>
      <dgm:spPr/>
      <dgm:t>
        <a:bodyPr/>
        <a:lstStyle/>
        <a:p>
          <a:endParaRPr lang="en-US"/>
        </a:p>
      </dgm:t>
    </dgm:pt>
    <dgm:pt modelId="{B2412C29-2994-4A9B-BF11-DD2C8A44153C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>
              <a:latin typeface="Corbel" panose="020B0503020204020204" pitchFamily="34" charset="0"/>
            </a:rPr>
            <a:t>External guests : Google, Society of Cable Telecommunications Engineers (SCTE), EU Commission, Environment Canada, </a:t>
          </a:r>
          <a:r>
            <a:rPr lang="en-GB" dirty="0" err="1">
              <a:latin typeface="Corbel" panose="020B0503020204020204" pitchFamily="34" charset="0"/>
            </a:rPr>
            <a:t>Quizrr</a:t>
          </a:r>
          <a:r>
            <a:rPr lang="en-GB" dirty="0">
              <a:latin typeface="Corbel" panose="020B0503020204020204" pitchFamily="34" charset="0"/>
            </a:rPr>
            <a:t> </a:t>
          </a:r>
          <a:endParaRPr lang="en-US" dirty="0">
            <a:latin typeface="Corbel" panose="020B0503020204020204" pitchFamily="34" charset="0"/>
          </a:endParaRPr>
        </a:p>
      </dgm:t>
    </dgm:pt>
    <dgm:pt modelId="{36992282-43E7-4CC5-992F-5FB64AD93176}" type="parTrans" cxnId="{DF480090-ED8C-4021-B2BF-3E8EA6C523A8}">
      <dgm:prSet/>
      <dgm:spPr/>
      <dgm:t>
        <a:bodyPr/>
        <a:lstStyle/>
        <a:p>
          <a:endParaRPr lang="en-US"/>
        </a:p>
      </dgm:t>
    </dgm:pt>
    <dgm:pt modelId="{36BB70DA-3CDD-4F31-9625-584E41C94A59}" type="sibTrans" cxnId="{DF480090-ED8C-4021-B2BF-3E8EA6C523A8}">
      <dgm:prSet/>
      <dgm:spPr/>
      <dgm:t>
        <a:bodyPr/>
        <a:lstStyle/>
        <a:p>
          <a:endParaRPr lang="en-US"/>
        </a:p>
      </dgm:t>
    </dgm:pt>
    <dgm:pt modelId="{45A5E940-E29B-49BC-9C53-34867426209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atin typeface="Corbel" panose="020B0503020204020204" pitchFamily="34" charset="0"/>
            </a:rPr>
            <a:t>Special Guest: Mr. Andrew </a:t>
          </a:r>
          <a:r>
            <a:rPr lang="en-US" dirty="0" err="1">
              <a:latin typeface="Corbel" panose="020B0503020204020204" pitchFamily="34" charset="0"/>
            </a:rPr>
            <a:t>Mayock</a:t>
          </a:r>
          <a:r>
            <a:rPr lang="en-US" dirty="0">
              <a:latin typeface="Corbel" panose="020B0503020204020204" pitchFamily="34" charset="0"/>
            </a:rPr>
            <a:t>, Federal Chief Sustainability Officer</a:t>
          </a:r>
        </a:p>
      </dgm:t>
    </dgm:pt>
    <dgm:pt modelId="{E80E488F-A49C-47E1-8E39-CC93F8ED1C78}" type="parTrans" cxnId="{0607ADDE-BCC9-4E56-9695-1571B8E9C02C}">
      <dgm:prSet/>
      <dgm:spPr/>
      <dgm:t>
        <a:bodyPr/>
        <a:lstStyle/>
        <a:p>
          <a:endParaRPr lang="en-US"/>
        </a:p>
      </dgm:t>
    </dgm:pt>
    <dgm:pt modelId="{2FB22D62-44E8-4A91-8465-AD4CA004E922}" type="sibTrans" cxnId="{0607ADDE-BCC9-4E56-9695-1571B8E9C02C}">
      <dgm:prSet/>
      <dgm:spPr/>
      <dgm:t>
        <a:bodyPr/>
        <a:lstStyle/>
        <a:p>
          <a:endParaRPr lang="en-US"/>
        </a:p>
      </dgm:t>
    </dgm:pt>
    <dgm:pt modelId="{5BE25180-1598-4FD8-856A-F5A42DAC5226}">
      <dgm:prSet/>
      <dgm:spPr/>
      <dgm:t>
        <a:bodyPr/>
        <a:lstStyle/>
        <a:p>
          <a:pPr>
            <a:lnSpc>
              <a:spcPct val="100000"/>
            </a:lnSpc>
          </a:pPr>
          <a:r>
            <a:rPr lang="en-GB">
              <a:latin typeface="Corbel" panose="020B0503020204020204" pitchFamily="34" charset="0"/>
            </a:rPr>
            <a:t>Practical information can be found under </a:t>
          </a:r>
          <a:r>
            <a:rPr lang="en-GB" b="1">
              <a:latin typeface="Corbel" panose="020B0503020204020204" pitchFamily="34" charset="0"/>
            </a:rPr>
            <a:t>Documents </a:t>
          </a:r>
          <a:endParaRPr lang="en-US">
            <a:latin typeface="Corbel" panose="020B0503020204020204" pitchFamily="34" charset="0"/>
          </a:endParaRPr>
        </a:p>
      </dgm:t>
    </dgm:pt>
    <dgm:pt modelId="{F027418E-6BCC-4920-B5D9-E589349E9007}" type="parTrans" cxnId="{564E1DE2-499E-4848-8FE5-56100F848F1E}">
      <dgm:prSet/>
      <dgm:spPr/>
      <dgm:t>
        <a:bodyPr/>
        <a:lstStyle/>
        <a:p>
          <a:endParaRPr lang="en-US"/>
        </a:p>
      </dgm:t>
    </dgm:pt>
    <dgm:pt modelId="{FFD9E87B-A2BE-46E8-A02C-6977559057D1}" type="sibTrans" cxnId="{564E1DE2-499E-4848-8FE5-56100F848F1E}">
      <dgm:prSet/>
      <dgm:spPr/>
      <dgm:t>
        <a:bodyPr/>
        <a:lstStyle/>
        <a:p>
          <a:endParaRPr lang="en-US"/>
        </a:p>
      </dgm:t>
    </dgm:pt>
    <dgm:pt modelId="{95ADCD05-BDA8-45FB-B284-481EF97D2B5E}" type="pres">
      <dgm:prSet presAssocID="{23301F00-1615-43B2-861B-FDEEA8E4B90C}" presName="root" presStyleCnt="0">
        <dgm:presLayoutVars>
          <dgm:dir/>
          <dgm:resizeHandles val="exact"/>
        </dgm:presLayoutVars>
      </dgm:prSet>
      <dgm:spPr/>
    </dgm:pt>
    <dgm:pt modelId="{218E23F1-390A-4853-A941-E0C7CD60D17B}" type="pres">
      <dgm:prSet presAssocID="{23680B6D-AC17-46ED-8161-D3F0D8BED428}" presName="compNode" presStyleCnt="0"/>
      <dgm:spPr/>
    </dgm:pt>
    <dgm:pt modelId="{5F6BAD61-8229-4EC6-80D7-3CD8A4213D8D}" type="pres">
      <dgm:prSet presAssocID="{23680B6D-AC17-46ED-8161-D3F0D8BED428}" presName="bgRect" presStyleLbl="bgShp" presStyleIdx="0" presStyleCnt="4"/>
      <dgm:spPr/>
    </dgm:pt>
    <dgm:pt modelId="{A8244898-11DD-4A84-8CED-2FB6134FF8C2}" type="pres">
      <dgm:prSet presAssocID="{23680B6D-AC17-46ED-8161-D3F0D8BED42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7250DB4-3779-4D1A-821A-C847A262C522}" type="pres">
      <dgm:prSet presAssocID="{23680B6D-AC17-46ED-8161-D3F0D8BED428}" presName="spaceRect" presStyleCnt="0"/>
      <dgm:spPr/>
    </dgm:pt>
    <dgm:pt modelId="{BB8F7B7A-B789-450E-B3C9-DB6360CC935E}" type="pres">
      <dgm:prSet presAssocID="{23680B6D-AC17-46ED-8161-D3F0D8BED428}" presName="parTx" presStyleLbl="revTx" presStyleIdx="0" presStyleCnt="4">
        <dgm:presLayoutVars>
          <dgm:chMax val="0"/>
          <dgm:chPref val="0"/>
        </dgm:presLayoutVars>
      </dgm:prSet>
      <dgm:spPr/>
    </dgm:pt>
    <dgm:pt modelId="{04099ABD-F499-4EA1-BE44-B6465C9274B2}" type="pres">
      <dgm:prSet presAssocID="{C5C84FD9-CDCD-4A7C-873A-50DE9947382F}" presName="sibTrans" presStyleCnt="0"/>
      <dgm:spPr/>
    </dgm:pt>
    <dgm:pt modelId="{23B547DC-C41E-4EF8-9F5E-1C2E839FB49A}" type="pres">
      <dgm:prSet presAssocID="{B2412C29-2994-4A9B-BF11-DD2C8A44153C}" presName="compNode" presStyleCnt="0"/>
      <dgm:spPr/>
    </dgm:pt>
    <dgm:pt modelId="{BD73FC4B-0DC3-4766-B8CA-3C492A22E9EF}" type="pres">
      <dgm:prSet presAssocID="{B2412C29-2994-4A9B-BF11-DD2C8A44153C}" presName="bgRect" presStyleLbl="bgShp" presStyleIdx="1" presStyleCnt="4" custScaleY="112952"/>
      <dgm:spPr/>
    </dgm:pt>
    <dgm:pt modelId="{2774AD15-F07E-439A-95C6-30E18C9790E1}" type="pres">
      <dgm:prSet presAssocID="{B2412C29-2994-4A9B-BF11-DD2C8A44153C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8B59E2C2-8C5A-47B0-A2D5-71AC09DE554E}" type="pres">
      <dgm:prSet presAssocID="{B2412C29-2994-4A9B-BF11-DD2C8A44153C}" presName="spaceRect" presStyleCnt="0"/>
      <dgm:spPr/>
    </dgm:pt>
    <dgm:pt modelId="{98CBB01F-A2E2-49CE-8A72-3B6FB4337E90}" type="pres">
      <dgm:prSet presAssocID="{B2412C29-2994-4A9B-BF11-DD2C8A44153C}" presName="parTx" presStyleLbl="revTx" presStyleIdx="1" presStyleCnt="4">
        <dgm:presLayoutVars>
          <dgm:chMax val="0"/>
          <dgm:chPref val="0"/>
        </dgm:presLayoutVars>
      </dgm:prSet>
      <dgm:spPr/>
    </dgm:pt>
    <dgm:pt modelId="{1A6EBBA4-3FC3-437C-AC27-305B48AF7720}" type="pres">
      <dgm:prSet presAssocID="{36BB70DA-3CDD-4F31-9625-584E41C94A59}" presName="sibTrans" presStyleCnt="0"/>
      <dgm:spPr/>
    </dgm:pt>
    <dgm:pt modelId="{6771E2C6-35B5-4EA4-968A-4BD69DAB1F2C}" type="pres">
      <dgm:prSet presAssocID="{45A5E940-E29B-49BC-9C53-34867426209A}" presName="compNode" presStyleCnt="0"/>
      <dgm:spPr/>
    </dgm:pt>
    <dgm:pt modelId="{1C48C2F7-82A1-4685-9AED-05B5EDC03B2F}" type="pres">
      <dgm:prSet presAssocID="{45A5E940-E29B-49BC-9C53-34867426209A}" presName="bgRect" presStyleLbl="bgShp" presStyleIdx="2" presStyleCnt="4"/>
      <dgm:spPr/>
    </dgm:pt>
    <dgm:pt modelId="{73998A1A-7AB7-406F-B40C-CF04736AF579}" type="pres">
      <dgm:prSet presAssocID="{45A5E940-E29B-49BC-9C53-34867426209A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ecturer"/>
        </a:ext>
      </dgm:extLst>
    </dgm:pt>
    <dgm:pt modelId="{47D04A85-72DE-4E70-B74D-4FD338EF34CB}" type="pres">
      <dgm:prSet presAssocID="{45A5E940-E29B-49BC-9C53-34867426209A}" presName="spaceRect" presStyleCnt="0"/>
      <dgm:spPr/>
    </dgm:pt>
    <dgm:pt modelId="{36E3EA99-EA3B-4DF0-AC3C-99173B73EEFF}" type="pres">
      <dgm:prSet presAssocID="{45A5E940-E29B-49BC-9C53-34867426209A}" presName="parTx" presStyleLbl="revTx" presStyleIdx="2" presStyleCnt="4">
        <dgm:presLayoutVars>
          <dgm:chMax val="0"/>
          <dgm:chPref val="0"/>
        </dgm:presLayoutVars>
      </dgm:prSet>
      <dgm:spPr/>
    </dgm:pt>
    <dgm:pt modelId="{EB6E7D35-8127-4F1C-A859-36B2B28AE99F}" type="pres">
      <dgm:prSet presAssocID="{2FB22D62-44E8-4A91-8465-AD4CA004E922}" presName="sibTrans" presStyleCnt="0"/>
      <dgm:spPr/>
    </dgm:pt>
    <dgm:pt modelId="{1085ADFC-4FA8-4E89-BD33-4F06F0D1A6C6}" type="pres">
      <dgm:prSet presAssocID="{5BE25180-1598-4FD8-856A-F5A42DAC5226}" presName="compNode" presStyleCnt="0"/>
      <dgm:spPr/>
    </dgm:pt>
    <dgm:pt modelId="{27FFF636-4D85-4CDF-8DE8-F9DBFBA494F1}" type="pres">
      <dgm:prSet presAssocID="{5BE25180-1598-4FD8-856A-F5A42DAC5226}" presName="bgRect" presStyleLbl="bgShp" presStyleIdx="3" presStyleCnt="4"/>
      <dgm:spPr/>
    </dgm:pt>
    <dgm:pt modelId="{275E3311-8B10-451E-B831-64809296E715}" type="pres">
      <dgm:prSet presAssocID="{5BE25180-1598-4FD8-856A-F5A42DAC5226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F30B380B-D6F5-493F-A91D-F14544B9857C}" type="pres">
      <dgm:prSet presAssocID="{5BE25180-1598-4FD8-856A-F5A42DAC5226}" presName="spaceRect" presStyleCnt="0"/>
      <dgm:spPr/>
    </dgm:pt>
    <dgm:pt modelId="{EE585A8E-0555-4C4C-804C-B0A508D3A1FD}" type="pres">
      <dgm:prSet presAssocID="{5BE25180-1598-4FD8-856A-F5A42DAC5226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F7543465-2806-43EB-9BB3-C30748AEA2FB}" type="presOf" srcId="{B2412C29-2994-4A9B-BF11-DD2C8A44153C}" destId="{98CBB01F-A2E2-49CE-8A72-3B6FB4337E90}" srcOrd="0" destOrd="0" presId="urn:microsoft.com/office/officeart/2018/2/layout/IconVerticalSolidList"/>
    <dgm:cxn modelId="{DF480090-ED8C-4021-B2BF-3E8EA6C523A8}" srcId="{23301F00-1615-43B2-861B-FDEEA8E4B90C}" destId="{B2412C29-2994-4A9B-BF11-DD2C8A44153C}" srcOrd="1" destOrd="0" parTransId="{36992282-43E7-4CC5-992F-5FB64AD93176}" sibTransId="{36BB70DA-3CDD-4F31-9625-584E41C94A59}"/>
    <dgm:cxn modelId="{B17B8A96-C9A0-40ED-BCAA-564D72DC5F35}" type="presOf" srcId="{5BE25180-1598-4FD8-856A-F5A42DAC5226}" destId="{EE585A8E-0555-4C4C-804C-B0A508D3A1FD}" srcOrd="0" destOrd="0" presId="urn:microsoft.com/office/officeart/2018/2/layout/IconVerticalSolidList"/>
    <dgm:cxn modelId="{381B86C4-1468-4308-A589-F1BD8F51C84D}" type="presOf" srcId="{23301F00-1615-43B2-861B-FDEEA8E4B90C}" destId="{95ADCD05-BDA8-45FB-B284-481EF97D2B5E}" srcOrd="0" destOrd="0" presId="urn:microsoft.com/office/officeart/2018/2/layout/IconVerticalSolidList"/>
    <dgm:cxn modelId="{957551CE-1CA8-483C-8E21-16732CA9DD60}" type="presOf" srcId="{45A5E940-E29B-49BC-9C53-34867426209A}" destId="{36E3EA99-EA3B-4DF0-AC3C-99173B73EEFF}" srcOrd="0" destOrd="0" presId="urn:microsoft.com/office/officeart/2018/2/layout/IconVerticalSolidList"/>
    <dgm:cxn modelId="{8A1F1BD5-8F16-483C-8BBB-48C9FFB19EFA}" srcId="{23301F00-1615-43B2-861B-FDEEA8E4B90C}" destId="{23680B6D-AC17-46ED-8161-D3F0D8BED428}" srcOrd="0" destOrd="0" parTransId="{2EA239A6-760B-4A65-A846-8993C8D335DE}" sibTransId="{C5C84FD9-CDCD-4A7C-873A-50DE9947382F}"/>
    <dgm:cxn modelId="{0607ADDE-BCC9-4E56-9695-1571B8E9C02C}" srcId="{23301F00-1615-43B2-861B-FDEEA8E4B90C}" destId="{45A5E940-E29B-49BC-9C53-34867426209A}" srcOrd="2" destOrd="0" parTransId="{E80E488F-A49C-47E1-8E39-CC93F8ED1C78}" sibTransId="{2FB22D62-44E8-4A91-8465-AD4CA004E922}"/>
    <dgm:cxn modelId="{564E1DE2-499E-4848-8FE5-56100F848F1E}" srcId="{23301F00-1615-43B2-861B-FDEEA8E4B90C}" destId="{5BE25180-1598-4FD8-856A-F5A42DAC5226}" srcOrd="3" destOrd="0" parTransId="{F027418E-6BCC-4920-B5D9-E589349E9007}" sibTransId="{FFD9E87B-A2BE-46E8-A02C-6977559057D1}"/>
    <dgm:cxn modelId="{D6F8E8EB-9DE8-4A2B-9385-CE301BEE73A8}" type="presOf" srcId="{23680B6D-AC17-46ED-8161-D3F0D8BED428}" destId="{BB8F7B7A-B789-450E-B3C9-DB6360CC935E}" srcOrd="0" destOrd="0" presId="urn:microsoft.com/office/officeart/2018/2/layout/IconVerticalSolidList"/>
    <dgm:cxn modelId="{0E9EDAA0-4026-4A6E-AA0C-8B3C64B9FE35}" type="presParOf" srcId="{95ADCD05-BDA8-45FB-B284-481EF97D2B5E}" destId="{218E23F1-390A-4853-A941-E0C7CD60D17B}" srcOrd="0" destOrd="0" presId="urn:microsoft.com/office/officeart/2018/2/layout/IconVerticalSolidList"/>
    <dgm:cxn modelId="{8CF1939B-0E0C-456D-BC44-3617B7F040C3}" type="presParOf" srcId="{218E23F1-390A-4853-A941-E0C7CD60D17B}" destId="{5F6BAD61-8229-4EC6-80D7-3CD8A4213D8D}" srcOrd="0" destOrd="0" presId="urn:microsoft.com/office/officeart/2018/2/layout/IconVerticalSolidList"/>
    <dgm:cxn modelId="{B8F92207-065D-4316-91AE-5256E21E100E}" type="presParOf" srcId="{218E23F1-390A-4853-A941-E0C7CD60D17B}" destId="{A8244898-11DD-4A84-8CED-2FB6134FF8C2}" srcOrd="1" destOrd="0" presId="urn:microsoft.com/office/officeart/2018/2/layout/IconVerticalSolidList"/>
    <dgm:cxn modelId="{4BD8A6F7-EDD0-4C04-86A4-A3C4704C4012}" type="presParOf" srcId="{218E23F1-390A-4853-A941-E0C7CD60D17B}" destId="{C7250DB4-3779-4D1A-821A-C847A262C522}" srcOrd="2" destOrd="0" presId="urn:microsoft.com/office/officeart/2018/2/layout/IconVerticalSolidList"/>
    <dgm:cxn modelId="{2E4B7621-0A01-4BD1-8461-DF4F693800F6}" type="presParOf" srcId="{218E23F1-390A-4853-A941-E0C7CD60D17B}" destId="{BB8F7B7A-B789-450E-B3C9-DB6360CC935E}" srcOrd="3" destOrd="0" presId="urn:microsoft.com/office/officeart/2018/2/layout/IconVerticalSolidList"/>
    <dgm:cxn modelId="{D7B29524-B03E-4109-B0F0-E182CF08BEF3}" type="presParOf" srcId="{95ADCD05-BDA8-45FB-B284-481EF97D2B5E}" destId="{04099ABD-F499-4EA1-BE44-B6465C9274B2}" srcOrd="1" destOrd="0" presId="urn:microsoft.com/office/officeart/2018/2/layout/IconVerticalSolidList"/>
    <dgm:cxn modelId="{6497DF24-6653-48F6-9644-C2DF18899040}" type="presParOf" srcId="{95ADCD05-BDA8-45FB-B284-481EF97D2B5E}" destId="{23B547DC-C41E-4EF8-9F5E-1C2E839FB49A}" srcOrd="2" destOrd="0" presId="urn:microsoft.com/office/officeart/2018/2/layout/IconVerticalSolidList"/>
    <dgm:cxn modelId="{E5877330-0434-4D8E-B3BA-ABF564C89652}" type="presParOf" srcId="{23B547DC-C41E-4EF8-9F5E-1C2E839FB49A}" destId="{BD73FC4B-0DC3-4766-B8CA-3C492A22E9EF}" srcOrd="0" destOrd="0" presId="urn:microsoft.com/office/officeart/2018/2/layout/IconVerticalSolidList"/>
    <dgm:cxn modelId="{F3FA0D18-40E7-49B7-8BF6-693545CA7247}" type="presParOf" srcId="{23B547DC-C41E-4EF8-9F5E-1C2E839FB49A}" destId="{2774AD15-F07E-439A-95C6-30E18C9790E1}" srcOrd="1" destOrd="0" presId="urn:microsoft.com/office/officeart/2018/2/layout/IconVerticalSolidList"/>
    <dgm:cxn modelId="{A7E76F69-939E-4526-90F2-0D2EB8BB85F1}" type="presParOf" srcId="{23B547DC-C41E-4EF8-9F5E-1C2E839FB49A}" destId="{8B59E2C2-8C5A-47B0-A2D5-71AC09DE554E}" srcOrd="2" destOrd="0" presId="urn:microsoft.com/office/officeart/2018/2/layout/IconVerticalSolidList"/>
    <dgm:cxn modelId="{4F9B3D8C-A5CA-4F33-A60F-91CABAB1A302}" type="presParOf" srcId="{23B547DC-C41E-4EF8-9F5E-1C2E839FB49A}" destId="{98CBB01F-A2E2-49CE-8A72-3B6FB4337E90}" srcOrd="3" destOrd="0" presId="urn:microsoft.com/office/officeart/2018/2/layout/IconVerticalSolidList"/>
    <dgm:cxn modelId="{B5F76457-DCCF-4C55-8D82-0E02010E508D}" type="presParOf" srcId="{95ADCD05-BDA8-45FB-B284-481EF97D2B5E}" destId="{1A6EBBA4-3FC3-437C-AC27-305B48AF7720}" srcOrd="3" destOrd="0" presId="urn:microsoft.com/office/officeart/2018/2/layout/IconVerticalSolidList"/>
    <dgm:cxn modelId="{0FFAC4C4-0D08-4484-83D6-E12ACE33099E}" type="presParOf" srcId="{95ADCD05-BDA8-45FB-B284-481EF97D2B5E}" destId="{6771E2C6-35B5-4EA4-968A-4BD69DAB1F2C}" srcOrd="4" destOrd="0" presId="urn:microsoft.com/office/officeart/2018/2/layout/IconVerticalSolidList"/>
    <dgm:cxn modelId="{BF0D6AF4-676E-4305-A07D-946717F244B7}" type="presParOf" srcId="{6771E2C6-35B5-4EA4-968A-4BD69DAB1F2C}" destId="{1C48C2F7-82A1-4685-9AED-05B5EDC03B2F}" srcOrd="0" destOrd="0" presId="urn:microsoft.com/office/officeart/2018/2/layout/IconVerticalSolidList"/>
    <dgm:cxn modelId="{0645DBE1-43AA-4F7B-B14E-CD5032E72A0C}" type="presParOf" srcId="{6771E2C6-35B5-4EA4-968A-4BD69DAB1F2C}" destId="{73998A1A-7AB7-406F-B40C-CF04736AF579}" srcOrd="1" destOrd="0" presId="urn:microsoft.com/office/officeart/2018/2/layout/IconVerticalSolidList"/>
    <dgm:cxn modelId="{CCCE81A8-751B-4C0A-95B5-7839A962DBCA}" type="presParOf" srcId="{6771E2C6-35B5-4EA4-968A-4BD69DAB1F2C}" destId="{47D04A85-72DE-4E70-B74D-4FD338EF34CB}" srcOrd="2" destOrd="0" presId="urn:microsoft.com/office/officeart/2018/2/layout/IconVerticalSolidList"/>
    <dgm:cxn modelId="{90A1A1E9-2FD2-402F-98E3-73AE3020BD42}" type="presParOf" srcId="{6771E2C6-35B5-4EA4-968A-4BD69DAB1F2C}" destId="{36E3EA99-EA3B-4DF0-AC3C-99173B73EEFF}" srcOrd="3" destOrd="0" presId="urn:microsoft.com/office/officeart/2018/2/layout/IconVerticalSolidList"/>
    <dgm:cxn modelId="{51C07C93-E69B-49B7-8631-586FAA12B28B}" type="presParOf" srcId="{95ADCD05-BDA8-45FB-B284-481EF97D2B5E}" destId="{EB6E7D35-8127-4F1C-A859-36B2B28AE99F}" srcOrd="5" destOrd="0" presId="urn:microsoft.com/office/officeart/2018/2/layout/IconVerticalSolidList"/>
    <dgm:cxn modelId="{6277DD98-DA8D-4EEB-B692-6AB8A51A0785}" type="presParOf" srcId="{95ADCD05-BDA8-45FB-B284-481EF97D2B5E}" destId="{1085ADFC-4FA8-4E89-BD33-4F06F0D1A6C6}" srcOrd="6" destOrd="0" presId="urn:microsoft.com/office/officeart/2018/2/layout/IconVerticalSolidList"/>
    <dgm:cxn modelId="{7267FF4C-2600-4EBE-A995-2A2900EF43D1}" type="presParOf" srcId="{1085ADFC-4FA8-4E89-BD33-4F06F0D1A6C6}" destId="{27FFF636-4D85-4CDF-8DE8-F9DBFBA494F1}" srcOrd="0" destOrd="0" presId="urn:microsoft.com/office/officeart/2018/2/layout/IconVerticalSolidList"/>
    <dgm:cxn modelId="{8C81E62C-8AC7-4E42-8B4B-28A98C485869}" type="presParOf" srcId="{1085ADFC-4FA8-4E89-BD33-4F06F0D1A6C6}" destId="{275E3311-8B10-451E-B831-64809296E715}" srcOrd="1" destOrd="0" presId="urn:microsoft.com/office/officeart/2018/2/layout/IconVerticalSolidList"/>
    <dgm:cxn modelId="{76E6F89F-5335-425C-859A-91DD6CFAB33C}" type="presParOf" srcId="{1085ADFC-4FA8-4E89-BD33-4F06F0D1A6C6}" destId="{F30B380B-D6F5-493F-A91D-F14544B9857C}" srcOrd="2" destOrd="0" presId="urn:microsoft.com/office/officeart/2018/2/layout/IconVerticalSolidList"/>
    <dgm:cxn modelId="{8DC461F5-2CF9-4C46-A1C0-871F4B3EC13F}" type="presParOf" srcId="{1085ADFC-4FA8-4E89-BD33-4F06F0D1A6C6}" destId="{EE585A8E-0555-4C4C-804C-B0A508D3A1F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6BAD61-8229-4EC6-80D7-3CD8A4213D8D}">
      <dsp:nvSpPr>
        <dsp:cNvPr id="0" name=""/>
        <dsp:cNvSpPr/>
      </dsp:nvSpPr>
      <dsp:spPr>
        <a:xfrm>
          <a:off x="0" y="1569"/>
          <a:ext cx="4330700" cy="8609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44898-11DD-4A84-8CED-2FB6134FF8C2}">
      <dsp:nvSpPr>
        <dsp:cNvPr id="0" name=""/>
        <dsp:cNvSpPr/>
      </dsp:nvSpPr>
      <dsp:spPr>
        <a:xfrm>
          <a:off x="260449" y="195292"/>
          <a:ext cx="473544" cy="47354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8F7B7A-B789-450E-B3C9-DB6360CC935E}">
      <dsp:nvSpPr>
        <dsp:cNvPr id="0" name=""/>
        <dsp:cNvSpPr/>
      </dsp:nvSpPr>
      <dsp:spPr>
        <a:xfrm>
          <a:off x="994443" y="1569"/>
          <a:ext cx="3336256" cy="860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121" tIns="91121" rIns="91121" bIns="9112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latin typeface="Corbel" panose="020B0503020204020204" pitchFamily="34" charset="0"/>
            </a:rPr>
            <a:t>58 Registrations (22 in-person, 36 online) </a:t>
          </a:r>
          <a:endParaRPr lang="en-US" sz="1400" kern="1200" dirty="0">
            <a:latin typeface="Corbel" panose="020B0503020204020204" pitchFamily="34" charset="0"/>
          </a:endParaRPr>
        </a:p>
      </dsp:txBody>
      <dsp:txXfrm>
        <a:off x="994443" y="1569"/>
        <a:ext cx="3336256" cy="860989"/>
      </dsp:txXfrm>
    </dsp:sp>
    <dsp:sp modelId="{BD73FC4B-0DC3-4766-B8CA-3C492A22E9EF}">
      <dsp:nvSpPr>
        <dsp:cNvPr id="0" name=""/>
        <dsp:cNvSpPr/>
      </dsp:nvSpPr>
      <dsp:spPr>
        <a:xfrm>
          <a:off x="0" y="1077806"/>
          <a:ext cx="4330700" cy="97250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74AD15-F07E-439A-95C6-30E18C9790E1}">
      <dsp:nvSpPr>
        <dsp:cNvPr id="0" name=""/>
        <dsp:cNvSpPr/>
      </dsp:nvSpPr>
      <dsp:spPr>
        <a:xfrm>
          <a:off x="260449" y="1327287"/>
          <a:ext cx="473544" cy="47354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CBB01F-A2E2-49CE-8A72-3B6FB4337E90}">
      <dsp:nvSpPr>
        <dsp:cNvPr id="0" name=""/>
        <dsp:cNvSpPr/>
      </dsp:nvSpPr>
      <dsp:spPr>
        <a:xfrm>
          <a:off x="994443" y="1133564"/>
          <a:ext cx="3336256" cy="860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121" tIns="91121" rIns="91121" bIns="9112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latin typeface="Corbel" panose="020B0503020204020204" pitchFamily="34" charset="0"/>
            </a:rPr>
            <a:t>External guests : Google, Society of Cable Telecommunications Engineers (SCTE), EU Commission, Environment Canada, </a:t>
          </a:r>
          <a:r>
            <a:rPr lang="en-GB" sz="1400" kern="1200" dirty="0" err="1">
              <a:latin typeface="Corbel" panose="020B0503020204020204" pitchFamily="34" charset="0"/>
            </a:rPr>
            <a:t>Quizrr</a:t>
          </a:r>
          <a:r>
            <a:rPr lang="en-GB" sz="1400" kern="1200" dirty="0">
              <a:latin typeface="Corbel" panose="020B0503020204020204" pitchFamily="34" charset="0"/>
            </a:rPr>
            <a:t> </a:t>
          </a:r>
          <a:endParaRPr lang="en-US" sz="1400" kern="1200" dirty="0">
            <a:latin typeface="Corbel" panose="020B0503020204020204" pitchFamily="34" charset="0"/>
          </a:endParaRPr>
        </a:p>
      </dsp:txBody>
      <dsp:txXfrm>
        <a:off x="994443" y="1133564"/>
        <a:ext cx="3336256" cy="860989"/>
      </dsp:txXfrm>
    </dsp:sp>
    <dsp:sp modelId="{1C48C2F7-82A1-4685-9AED-05B5EDC03B2F}">
      <dsp:nvSpPr>
        <dsp:cNvPr id="0" name=""/>
        <dsp:cNvSpPr/>
      </dsp:nvSpPr>
      <dsp:spPr>
        <a:xfrm>
          <a:off x="0" y="2265559"/>
          <a:ext cx="4330700" cy="8609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998A1A-7AB7-406F-B40C-CF04736AF579}">
      <dsp:nvSpPr>
        <dsp:cNvPr id="0" name=""/>
        <dsp:cNvSpPr/>
      </dsp:nvSpPr>
      <dsp:spPr>
        <a:xfrm>
          <a:off x="260449" y="2459282"/>
          <a:ext cx="473544" cy="47354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E3EA99-EA3B-4DF0-AC3C-99173B73EEFF}">
      <dsp:nvSpPr>
        <dsp:cNvPr id="0" name=""/>
        <dsp:cNvSpPr/>
      </dsp:nvSpPr>
      <dsp:spPr>
        <a:xfrm>
          <a:off x="994443" y="2265559"/>
          <a:ext cx="3336256" cy="860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121" tIns="91121" rIns="91121" bIns="9112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Corbel" panose="020B0503020204020204" pitchFamily="34" charset="0"/>
            </a:rPr>
            <a:t>Special Guest: Mr. Andrew </a:t>
          </a:r>
          <a:r>
            <a:rPr lang="en-US" sz="1400" kern="1200" dirty="0" err="1">
              <a:latin typeface="Corbel" panose="020B0503020204020204" pitchFamily="34" charset="0"/>
            </a:rPr>
            <a:t>Mayock</a:t>
          </a:r>
          <a:r>
            <a:rPr lang="en-US" sz="1400" kern="1200" dirty="0">
              <a:latin typeface="Corbel" panose="020B0503020204020204" pitchFamily="34" charset="0"/>
            </a:rPr>
            <a:t>, Federal Chief Sustainability Officer</a:t>
          </a:r>
        </a:p>
      </dsp:txBody>
      <dsp:txXfrm>
        <a:off x="994443" y="2265559"/>
        <a:ext cx="3336256" cy="860989"/>
      </dsp:txXfrm>
    </dsp:sp>
    <dsp:sp modelId="{27FFF636-4D85-4CDF-8DE8-F9DBFBA494F1}">
      <dsp:nvSpPr>
        <dsp:cNvPr id="0" name=""/>
        <dsp:cNvSpPr/>
      </dsp:nvSpPr>
      <dsp:spPr>
        <a:xfrm>
          <a:off x="0" y="3341796"/>
          <a:ext cx="4330700" cy="8609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5E3311-8B10-451E-B831-64809296E715}">
      <dsp:nvSpPr>
        <dsp:cNvPr id="0" name=""/>
        <dsp:cNvSpPr/>
      </dsp:nvSpPr>
      <dsp:spPr>
        <a:xfrm>
          <a:off x="260449" y="3535519"/>
          <a:ext cx="473544" cy="47354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585A8E-0555-4C4C-804C-B0A508D3A1FD}">
      <dsp:nvSpPr>
        <dsp:cNvPr id="0" name=""/>
        <dsp:cNvSpPr/>
      </dsp:nvSpPr>
      <dsp:spPr>
        <a:xfrm>
          <a:off x="994443" y="3341796"/>
          <a:ext cx="3336256" cy="8609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121" tIns="91121" rIns="91121" bIns="9112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>
              <a:latin typeface="Corbel" panose="020B0503020204020204" pitchFamily="34" charset="0"/>
            </a:rPr>
            <a:t>Practical information can be found under </a:t>
          </a:r>
          <a:r>
            <a:rPr lang="en-GB" sz="1400" b="1" kern="1200">
              <a:latin typeface="Corbel" panose="020B0503020204020204" pitchFamily="34" charset="0"/>
            </a:rPr>
            <a:t>Documents </a:t>
          </a:r>
          <a:endParaRPr lang="en-US" sz="1400" kern="1200">
            <a:latin typeface="Corbel" panose="020B0503020204020204" pitchFamily="34" charset="0"/>
          </a:endParaRPr>
        </a:p>
      </dsp:txBody>
      <dsp:txXfrm>
        <a:off x="994443" y="3341796"/>
        <a:ext cx="3336256" cy="8609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FCA4A4-CB2E-4D41-A3FC-62220951F272}" type="datetimeFigureOut">
              <a:rPr lang="en-GB" smtClean="0"/>
              <a:t>04/1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BC5ABE-5DDB-4F4C-8E07-D3D35F25C46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202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66279" indent="-29472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78890" indent="-2357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50446" indent="-2357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122002" indent="-2357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93558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3065115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536671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4008227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4BD10F-FDE8-449F-BD5D-5D30D7BDA492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878624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BC5ABE-5DDB-4F4C-8E07-D3D35F25C46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230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&gt; For the GeSI GA proxy votes, November meeting is cancelled due to the dates being close to the December meeting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BC5ABE-5DDB-4F4C-8E07-D3D35F25C46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459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BC5ABE-5DDB-4F4C-8E07-D3D35F25C46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6220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66279" indent="-29472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78890" indent="-2357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50446" indent="-2357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122002" indent="-2357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93558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3065115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536671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4008227" indent="-2357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4BD10F-FDE8-449F-BD5D-5D30D7BDA492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1145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jpe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jpe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9023E4-943E-4ACE-A94A-D2A981164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795DE3-B6DC-4698-8961-0C88077070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1A340B-2C00-4ABB-8FC2-C2CB5D889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BDEEF-8675-4FED-B73D-F2BC786429C9}" type="datetime1">
              <a:rPr lang="en-US" smtClean="0"/>
              <a:t>12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96AF98-6C1F-4930-B055-6967206FC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2FA58-5B9E-4810-8728-D59F4B23E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8C3BA0-F41D-41C5-A556-BA5D60A6AC80}" type="slidenum">
              <a:rPr lang="en-GB" altLang="de-DE" smtClean="0"/>
              <a:pPr/>
              <a:t>‹#›</a:t>
            </a:fld>
            <a:endParaRPr lang="en-GB" altLang="de-DE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C58DDD69-2CCB-4326-8ECD-80CEFE09BD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C58DDD69-2CCB-4326-8ECD-80CEFE09BD3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168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1">
            <a:extLst>
              <a:ext uri="{FF2B5EF4-FFF2-40B4-BE49-F238E27FC236}">
                <a16:creationId xmlns:a16="http://schemas.microsoft.com/office/drawing/2014/main" id="{EEBF730F-A509-4703-B569-71158A2EDF5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6" y="1679"/>
            <a:ext cx="12191328" cy="685464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E36DEE-2C20-4919-AFC8-1C7948C9E7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765" y="-665984"/>
            <a:ext cx="6785561" cy="3817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26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D91A5-404A-4F6F-B96E-A0A2800F97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EC30CA-9F6F-45D2-9AD2-80DDC7201B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2A1C12-C9B7-4D25-918A-C266A8622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DF711-1517-4FAA-82DF-ED9F1D00B7AE}" type="datetime1">
              <a:rPr lang="en-US" smtClean="0"/>
              <a:t>12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D3E13-211B-433A-84C9-9ED19B6F4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7389C1-E800-425F-9793-C5542A8EE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5054288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A6E9DB2-46BE-40EE-8013-064B2DB4E1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8CF89B-DF92-48F6-AC99-CEF3A0B003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2484D1-B573-48A9-9EB1-953265BB01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D795C-AE72-4617-956F-E77C7B47BA6A}" type="datetime1">
              <a:rPr lang="en-US" smtClean="0"/>
              <a:t>12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C5C0A9-068A-4E1D-ACC6-70C52AC8C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676F3-B67C-457B-8045-2D397A1D0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2486670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6" y="0"/>
            <a:ext cx="12191328" cy="1822528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95543" y="1071091"/>
            <a:ext cx="11200915" cy="639762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806" indent="0">
              <a:buNone/>
              <a:defRPr sz="2117" b="1"/>
            </a:lvl2pPr>
            <a:lvl3pPr marL="967613" indent="0">
              <a:buNone/>
              <a:defRPr sz="1905" b="1"/>
            </a:lvl3pPr>
            <a:lvl4pPr marL="1451419" indent="0">
              <a:buNone/>
              <a:defRPr sz="1693" b="1"/>
            </a:lvl4pPr>
            <a:lvl5pPr marL="1935225" indent="0">
              <a:buNone/>
              <a:defRPr sz="1693" b="1"/>
            </a:lvl5pPr>
            <a:lvl6pPr marL="2419031" indent="0">
              <a:buNone/>
              <a:defRPr sz="1693" b="1"/>
            </a:lvl6pPr>
            <a:lvl7pPr marL="2902839" indent="0">
              <a:buNone/>
              <a:defRPr sz="1693" b="1"/>
            </a:lvl7pPr>
            <a:lvl8pPr marL="3386645" indent="0">
              <a:buNone/>
              <a:defRPr sz="1693" b="1"/>
            </a:lvl8pPr>
            <a:lvl9pPr marL="3870451" indent="0">
              <a:buNone/>
              <a:defRPr sz="169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95543" y="1710855"/>
            <a:ext cx="11200915" cy="3951288"/>
          </a:xfrm>
        </p:spPr>
        <p:txBody>
          <a:bodyPr tIns="36000"/>
          <a:lstStyle>
            <a:lvl1pPr marL="361176" indent="-362855">
              <a:buFont typeface="Wingdings" panose="05000000000000000000" pitchFamily="2" charset="2"/>
              <a:buChar char="§"/>
              <a:defRPr sz="1693"/>
            </a:lvl1pPr>
            <a:lvl2pPr marL="784506" indent="-302379">
              <a:buFont typeface="Wingdings" panose="05000000000000000000" pitchFamily="2" charset="2"/>
              <a:buChar char="§"/>
              <a:defRPr sz="1693"/>
            </a:lvl2pPr>
            <a:lvl3pPr marL="1207837" indent="-241903">
              <a:buFont typeface="Wingdings" panose="05000000000000000000" pitchFamily="2" charset="2"/>
              <a:buChar char="§"/>
              <a:defRPr sz="1693"/>
            </a:lvl3pPr>
            <a:lvl4pPr marL="1691643" indent="-241903">
              <a:buFont typeface="Wingdings" panose="05000000000000000000" pitchFamily="2" charset="2"/>
              <a:buChar char="§"/>
              <a:defRPr sz="1693"/>
            </a:lvl4pPr>
            <a:lvl5pPr marL="2175449" indent="-241903">
              <a:buFont typeface="Wingdings" panose="05000000000000000000" pitchFamily="2" charset="2"/>
              <a:buChar char="§"/>
              <a:defRPr sz="1693"/>
            </a:lvl5pPr>
            <a:lvl6pPr>
              <a:defRPr sz="1693"/>
            </a:lvl6pPr>
            <a:lvl7pPr>
              <a:defRPr sz="1693"/>
            </a:lvl7pPr>
            <a:lvl8pPr>
              <a:defRPr sz="1693"/>
            </a:lvl8pPr>
            <a:lvl9pPr>
              <a:defRPr sz="169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5543" y="506591"/>
            <a:ext cx="11200915" cy="5645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681" y="6401025"/>
            <a:ext cx="1548777" cy="320892"/>
          </a:xfr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ct val="25000"/>
              </a:spcBef>
              <a:defRPr>
                <a:solidFill>
                  <a:srgbClr val="646464"/>
                </a:solidFill>
              </a:defRPr>
            </a:lvl1pPr>
          </a:lstStyle>
          <a:p>
            <a:fld id="{AB3A1635-94C6-418D-9BCB-3B7BF585CE10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B7CE8A35-8E0D-47BF-86BE-78C27651AD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58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6" y="0"/>
            <a:ext cx="12191328" cy="1822528"/>
          </a:xfrm>
          <a:prstGeom prst="rect">
            <a:avLst/>
          </a:prstGeom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681" y="6401025"/>
            <a:ext cx="1548777" cy="320892"/>
          </a:xfr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ct val="25000"/>
              </a:spcBef>
              <a:defRPr/>
            </a:lvl1pPr>
          </a:lstStyle>
          <a:p>
            <a:fld id="{AB3A1635-94C6-418D-9BCB-3B7BF585CE10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95543" y="1071091"/>
            <a:ext cx="11200915" cy="639762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806" indent="0">
              <a:buNone/>
              <a:defRPr sz="2117" b="1"/>
            </a:lvl2pPr>
            <a:lvl3pPr marL="967613" indent="0">
              <a:buNone/>
              <a:defRPr sz="1905" b="1"/>
            </a:lvl3pPr>
            <a:lvl4pPr marL="1451419" indent="0">
              <a:buNone/>
              <a:defRPr sz="1693" b="1"/>
            </a:lvl4pPr>
            <a:lvl5pPr marL="1935225" indent="0">
              <a:buNone/>
              <a:defRPr sz="1693" b="1"/>
            </a:lvl5pPr>
            <a:lvl6pPr marL="2419031" indent="0">
              <a:buNone/>
              <a:defRPr sz="1693" b="1"/>
            </a:lvl6pPr>
            <a:lvl7pPr marL="2902839" indent="0">
              <a:buNone/>
              <a:defRPr sz="1693" b="1"/>
            </a:lvl7pPr>
            <a:lvl8pPr marL="3386645" indent="0">
              <a:buNone/>
              <a:defRPr sz="1693" b="1"/>
            </a:lvl8pPr>
            <a:lvl9pPr marL="3870451" indent="0">
              <a:buNone/>
              <a:defRPr sz="169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5543" y="506591"/>
            <a:ext cx="11200915" cy="5645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B81BC96F-FABD-4DAD-9D30-1E05A8EDE3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5195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10" b="61815"/>
          <a:stretch/>
        </p:blipFill>
        <p:spPr>
          <a:xfrm>
            <a:off x="1" y="1"/>
            <a:ext cx="12190133" cy="1822528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1" y="854815"/>
            <a:ext cx="12190133" cy="96771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34"/>
          </a:p>
        </p:txBody>
      </p:sp>
      <p:sp>
        <p:nvSpPr>
          <p:cNvPr id="7" name="Rectangle 6"/>
          <p:cNvSpPr>
            <a:spLocks noGrp="1" noChangeArrowheads="1"/>
          </p:cNvSpPr>
          <p:nvPr userDrawn="1">
            <p:ph type="sldNum" sz="quarter" idx="10"/>
          </p:nvPr>
        </p:nvSpPr>
        <p:spPr>
          <a:xfrm>
            <a:off x="10147681" y="6401025"/>
            <a:ext cx="1548777" cy="320892"/>
          </a:xfr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ct val="25000"/>
              </a:spcBef>
              <a:defRPr/>
            </a:lvl1pPr>
          </a:lstStyle>
          <a:p>
            <a:fld id="{AB3A1635-94C6-418D-9BCB-3B7BF585CE10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8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5543" y="1071091"/>
            <a:ext cx="11200915" cy="639762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806" indent="0">
              <a:buNone/>
              <a:defRPr sz="2117" b="1"/>
            </a:lvl2pPr>
            <a:lvl3pPr marL="967613" indent="0">
              <a:buNone/>
              <a:defRPr sz="1905" b="1"/>
            </a:lvl3pPr>
            <a:lvl4pPr marL="1451419" indent="0">
              <a:buNone/>
              <a:defRPr sz="1693" b="1"/>
            </a:lvl4pPr>
            <a:lvl5pPr marL="1935225" indent="0">
              <a:buNone/>
              <a:defRPr sz="1693" b="1"/>
            </a:lvl5pPr>
            <a:lvl6pPr marL="2419031" indent="0">
              <a:buNone/>
              <a:defRPr sz="1693" b="1"/>
            </a:lvl6pPr>
            <a:lvl7pPr marL="2902839" indent="0">
              <a:buNone/>
              <a:defRPr sz="1693" b="1"/>
            </a:lvl7pPr>
            <a:lvl8pPr marL="3386645" indent="0">
              <a:buNone/>
              <a:defRPr sz="1693" b="1"/>
            </a:lvl8pPr>
            <a:lvl9pPr marL="3870451" indent="0">
              <a:buNone/>
              <a:defRPr sz="169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el 4"/>
          <p:cNvSpPr>
            <a:spLocks noGrp="1"/>
          </p:cNvSpPr>
          <p:nvPr userDrawn="1">
            <p:ph type="title"/>
          </p:nvPr>
        </p:nvSpPr>
        <p:spPr>
          <a:xfrm>
            <a:off x="495543" y="506591"/>
            <a:ext cx="11200915" cy="5645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9F9A27C7-4BF8-4E03-89A8-AC972454AD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6344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60" b="63065"/>
          <a:stretch/>
        </p:blipFill>
        <p:spPr>
          <a:xfrm>
            <a:off x="934" y="2"/>
            <a:ext cx="12190133" cy="1822529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1" y="854815"/>
            <a:ext cx="12190133" cy="96771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34"/>
          </a:p>
        </p:txBody>
      </p:sp>
      <p:sp>
        <p:nvSpPr>
          <p:cNvPr id="7" name="Rectangle 6"/>
          <p:cNvSpPr>
            <a:spLocks noGrp="1" noChangeArrowheads="1"/>
          </p:cNvSpPr>
          <p:nvPr userDrawn="1">
            <p:ph type="sldNum" sz="quarter" idx="10"/>
          </p:nvPr>
        </p:nvSpPr>
        <p:spPr>
          <a:xfrm>
            <a:off x="10147681" y="6401025"/>
            <a:ext cx="1548777" cy="320892"/>
          </a:xfr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ct val="25000"/>
              </a:spcBef>
              <a:defRPr/>
            </a:lvl1pPr>
          </a:lstStyle>
          <a:p>
            <a:fld id="{AB3A1635-94C6-418D-9BCB-3B7BF585CE10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8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5543" y="1071091"/>
            <a:ext cx="11200915" cy="639762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806" indent="0">
              <a:buNone/>
              <a:defRPr sz="2117" b="1"/>
            </a:lvl2pPr>
            <a:lvl3pPr marL="967613" indent="0">
              <a:buNone/>
              <a:defRPr sz="1905" b="1"/>
            </a:lvl3pPr>
            <a:lvl4pPr marL="1451419" indent="0">
              <a:buNone/>
              <a:defRPr sz="1693" b="1"/>
            </a:lvl4pPr>
            <a:lvl5pPr marL="1935225" indent="0">
              <a:buNone/>
              <a:defRPr sz="1693" b="1"/>
            </a:lvl5pPr>
            <a:lvl6pPr marL="2419031" indent="0">
              <a:buNone/>
              <a:defRPr sz="1693" b="1"/>
            </a:lvl6pPr>
            <a:lvl7pPr marL="2902839" indent="0">
              <a:buNone/>
              <a:defRPr sz="1693" b="1"/>
            </a:lvl7pPr>
            <a:lvl8pPr marL="3386645" indent="0">
              <a:buNone/>
              <a:defRPr sz="1693" b="1"/>
            </a:lvl8pPr>
            <a:lvl9pPr marL="3870451" indent="0">
              <a:buNone/>
              <a:defRPr sz="169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el 4"/>
          <p:cNvSpPr>
            <a:spLocks noGrp="1"/>
          </p:cNvSpPr>
          <p:nvPr userDrawn="1">
            <p:ph type="title"/>
          </p:nvPr>
        </p:nvSpPr>
        <p:spPr>
          <a:xfrm>
            <a:off x="495543" y="506591"/>
            <a:ext cx="11200915" cy="5645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195D2F9-0F38-46F4-9232-323B34D7C99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283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10" b="61815"/>
          <a:stretch/>
        </p:blipFill>
        <p:spPr>
          <a:xfrm>
            <a:off x="934" y="1"/>
            <a:ext cx="12190133" cy="1822528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>
          <a:xfrm>
            <a:off x="1" y="854815"/>
            <a:ext cx="12190133" cy="96771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34"/>
          </a:p>
        </p:txBody>
      </p:sp>
      <p:sp>
        <p:nvSpPr>
          <p:cNvPr id="7" name="Rectangle 6"/>
          <p:cNvSpPr>
            <a:spLocks noGrp="1" noChangeArrowheads="1"/>
          </p:cNvSpPr>
          <p:nvPr userDrawn="1">
            <p:ph type="sldNum" sz="quarter" idx="10"/>
          </p:nvPr>
        </p:nvSpPr>
        <p:spPr>
          <a:xfrm>
            <a:off x="10147681" y="6401025"/>
            <a:ext cx="1548777" cy="320892"/>
          </a:xfr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ct val="25000"/>
              </a:spcBef>
              <a:defRPr/>
            </a:lvl1pPr>
          </a:lstStyle>
          <a:p>
            <a:fld id="{AB3A1635-94C6-418D-9BCB-3B7BF585CE10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8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5543" y="1071091"/>
            <a:ext cx="11200915" cy="639762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806" indent="0">
              <a:buNone/>
              <a:defRPr sz="2117" b="1"/>
            </a:lvl2pPr>
            <a:lvl3pPr marL="967613" indent="0">
              <a:buNone/>
              <a:defRPr sz="1905" b="1"/>
            </a:lvl3pPr>
            <a:lvl4pPr marL="1451419" indent="0">
              <a:buNone/>
              <a:defRPr sz="1693" b="1"/>
            </a:lvl4pPr>
            <a:lvl5pPr marL="1935225" indent="0">
              <a:buNone/>
              <a:defRPr sz="1693" b="1"/>
            </a:lvl5pPr>
            <a:lvl6pPr marL="2419031" indent="0">
              <a:buNone/>
              <a:defRPr sz="1693" b="1"/>
            </a:lvl6pPr>
            <a:lvl7pPr marL="2902839" indent="0">
              <a:buNone/>
              <a:defRPr sz="1693" b="1"/>
            </a:lvl7pPr>
            <a:lvl8pPr marL="3386645" indent="0">
              <a:buNone/>
              <a:defRPr sz="1693" b="1"/>
            </a:lvl8pPr>
            <a:lvl9pPr marL="3870451" indent="0">
              <a:buNone/>
              <a:defRPr sz="169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el 4"/>
          <p:cNvSpPr>
            <a:spLocks noGrp="1"/>
          </p:cNvSpPr>
          <p:nvPr userDrawn="1">
            <p:ph type="title"/>
          </p:nvPr>
        </p:nvSpPr>
        <p:spPr>
          <a:xfrm>
            <a:off x="495543" y="506591"/>
            <a:ext cx="11200915" cy="5645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D80FF1E0-BC78-4754-8E94-C32BD597B9C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2083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6" y="0"/>
            <a:ext cx="12191328" cy="1822528"/>
          </a:xfrm>
          <a:prstGeom prst="rect">
            <a:avLst/>
          </a:prstGeom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681" y="6401025"/>
            <a:ext cx="1548777" cy="320892"/>
          </a:xfr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ct val="25000"/>
              </a:spcBef>
              <a:defRPr/>
            </a:lvl1pPr>
          </a:lstStyle>
          <a:p>
            <a:fld id="{D2F5711D-FE34-4FA9-B455-B7A5F6E6E16D}" type="slidenum">
              <a:rPr lang="en-GB" altLang="de-DE"/>
              <a:pPr/>
              <a:t>‹#›</a:t>
            </a:fld>
            <a:endParaRPr lang="en-GB" alt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3EFF221C-E089-4F1E-AD19-BD42B9675B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3845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6" y="0"/>
            <a:ext cx="12191328" cy="1822528"/>
          </a:xfrm>
          <a:prstGeom prst="rect">
            <a:avLst/>
          </a:prstGeom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681" y="6401025"/>
            <a:ext cx="1548777" cy="320892"/>
          </a:xfr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spcBef>
                <a:spcPct val="25000"/>
              </a:spcBef>
              <a:defRPr/>
            </a:lvl1pPr>
          </a:lstStyle>
          <a:p>
            <a:fld id="{D2F5711D-FE34-4FA9-B455-B7A5F6E6E16D}" type="slidenum">
              <a:rPr lang="en-GB" altLang="de-DE"/>
              <a:pPr/>
              <a:t>‹#›</a:t>
            </a:fld>
            <a:endParaRPr lang="en-GB" altLang="de-DE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9D868D8A-79D3-4776-AD74-799DB709D7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061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065450" y="6564447"/>
            <a:ext cx="770951" cy="192287"/>
          </a:xfrm>
        </p:spPr>
        <p:txBody>
          <a:bodyPr/>
          <a:lstStyle>
            <a:lvl1pPr>
              <a:defRPr sz="1067">
                <a:solidFill>
                  <a:schemeClr val="tx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40514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E510E-7A00-41D7-8429-DC3C61E0C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41DB57-D411-4D37-81B9-D16B862AB6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1E3FF2-1DBF-4533-B34E-97EA7C289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2E598-7DA6-4E5D-B8AD-20A6AE9DE5DC}" type="datetime1">
              <a:rPr lang="en-US" smtClean="0"/>
              <a:t>12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690A93-9883-47DB-9AC8-F5DCE5780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476A16-3AA8-478D-A8E3-AF52B0A46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F6EFFCE-19AB-4F98-8212-547485F768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087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800" b="1" i="0" spc="-75" dirty="0">
                <a:latin typeface="+mn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93964" cy="6858000"/>
          </a:xfrm>
          <a:prstGeom prst="rect">
            <a:avLst/>
          </a:prstGeom>
          <a:solidFill>
            <a:srgbClr val="8CC6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722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EAB9C-A57A-4678-BAB1-FE9C634D9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974661-5AD5-413D-BF5A-93EFFA633D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4C76ED-738B-4B8A-99A2-0D7712F96C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B7D89-40FD-4052-9784-D30BD1FCE4F1}" type="datetime1">
              <a:rPr lang="en-US" smtClean="0"/>
              <a:t>12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C7BE3E-B7F3-40F9-9E2D-6C48F444C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CF779D-1FB3-4EA1-A4BD-A5CAA8802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8471588-D3C1-4554-A1B2-F55C4A55A6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235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A6A8B0-A1B8-48F4-B112-CF3BD0772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942A9F-3FC2-4FC5-8AA1-ECE22B0BE9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70AA19-CC35-47D5-936F-94476990CA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CCE9FE-68CE-44D8-A29B-D4CAAA524C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35EEB6AA-ABCD-455D-85BC-8D92FF54A39C}" type="datetime1">
              <a:rPr lang="en-US" smtClean="0"/>
              <a:pPr/>
              <a:t>12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D71D94-1A1A-4197-9DDC-77B4AEFAD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15D09A-C70C-4CCB-9E07-F7FAAA36F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DA6682E-D7E2-410A-9DA0-CDF75BE9F3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290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47C5C6-2455-4D9B-BDD8-AE6525E81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1127C6-C64E-437F-886D-0CD0A851FF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orbel" panose="020B05030202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39E831-E986-4705-A956-C0F22E2AE0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B05752-A358-4F21-AF49-77FEDF1D3E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orbel" panose="020B05030202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9177E9-BF2C-40C7-8410-7569A6FC0B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  <a:lvl2pPr>
              <a:defRPr>
                <a:latin typeface="Corbel" panose="020B0503020204020204" pitchFamily="34" charset="0"/>
              </a:defRPr>
            </a:lvl2pPr>
            <a:lvl3pPr>
              <a:defRPr>
                <a:latin typeface="Corbel" panose="020B0503020204020204" pitchFamily="34" charset="0"/>
              </a:defRPr>
            </a:lvl3pPr>
            <a:lvl4pPr>
              <a:defRPr>
                <a:latin typeface="Corbel" panose="020B0503020204020204" pitchFamily="34" charset="0"/>
              </a:defRPr>
            </a:lvl4pPr>
            <a:lvl5pPr>
              <a:defRPr>
                <a:latin typeface="Corbel" panose="020B05030202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47FE2A-C3BC-49F7-9373-DD96C29C5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604E40C9-92AF-4333-8B69-9E94610BC548}" type="datetime1">
              <a:rPr lang="en-US" smtClean="0"/>
              <a:pPr/>
              <a:t>12/4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96C2643-E15C-4EAC-AE37-90DB15076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CBE55E-CEC0-45AD-B2CC-1D1168780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E7E350B-0CF3-4C69-9DF6-90A69AF0D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010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B806F-8265-44D9-9EA3-B6F553ED3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4548A3-5656-428A-907D-E2E9BB1BAC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27BD9-9714-4720-BFE0-50F785D05C73}" type="datetime1">
              <a:rPr lang="en-US" smtClean="0"/>
              <a:t>12/4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CCEF65-EC7A-4B42-932A-767592624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ED4CFA-D307-4AFB-8CC9-CAB014BC0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8F8515-6654-684B-B756-0A755E000BA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B57F15A3-D92B-41AC-AF38-8B0B89F74366}"/>
              </a:ext>
            </a:extLst>
          </p:cNvPr>
          <p:cNvSpPr txBox="1">
            <a:spLocks/>
          </p:cNvSpPr>
          <p:nvPr userDrawn="1"/>
        </p:nvSpPr>
        <p:spPr>
          <a:xfrm>
            <a:off x="562902" y="6121102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8" tIns="45719" rIns="91438" bIns="45719" anchor="t" anchorCtr="0" compatLnSpc="1">
            <a:noAutofit/>
          </a:bodyPr>
          <a:lstStyle>
            <a:defPPr>
              <a:defRPr lang="en-US"/>
            </a:defPPr>
            <a:lvl1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050" b="0" i="0" u="none" strike="noStrike" kern="1200" cap="none" spc="0" baseline="0">
                <a:solidFill>
                  <a:srgbClr val="000000"/>
                </a:solidFill>
                <a:uFillTx/>
                <a:latin typeface="Arial"/>
                <a:ea typeface=""/>
                <a:cs typeface="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64F35C-9D15-4B22-AA6A-97A70D5587A5}" type="slidenum">
              <a:rPr lang="en-GB" sz="1050" smtClean="0"/>
              <a:pPr/>
              <a:t>‹#›</a:t>
            </a:fld>
            <a:endParaRPr lang="en-GB" sz="1050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AB2EF5A-1225-46A4-8A04-D116561C60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274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F01350-7053-449A-B5CF-9D14FF808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BB92F-34AD-4263-8FD7-F3DA4341E6BF}" type="datetime1">
              <a:rPr lang="en-US" smtClean="0"/>
              <a:t>12/4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4A9DB0-F89F-47D3-99A4-CFDE85B4F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096781-7B70-4796-BE7F-5B66350C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4784C769-4379-4898-AA50-6C8FA7B4C1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19480" y="15885"/>
            <a:ext cx="3883115" cy="2184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9225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2F49F-1A85-4F83-83D4-FB48AAE67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205ACD-1CCE-4291-B221-74ADD0F826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Corbel" panose="020B0503020204020204" pitchFamily="34" charset="0"/>
              </a:defRPr>
            </a:lvl1pPr>
            <a:lvl2pPr>
              <a:defRPr sz="2800">
                <a:latin typeface="Corbel" panose="020B0503020204020204" pitchFamily="34" charset="0"/>
              </a:defRPr>
            </a:lvl2pPr>
            <a:lvl3pPr>
              <a:defRPr sz="2400">
                <a:latin typeface="Corbel" panose="020B0503020204020204" pitchFamily="34" charset="0"/>
              </a:defRPr>
            </a:lvl3pPr>
            <a:lvl4pPr>
              <a:defRPr sz="2000">
                <a:latin typeface="Corbel" panose="020B0503020204020204" pitchFamily="34" charset="0"/>
              </a:defRPr>
            </a:lvl4pPr>
            <a:lvl5pPr>
              <a:defRPr sz="2000">
                <a:latin typeface="Corbel" panose="020B0503020204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2E9C68-3FCE-41DC-B4FB-169E3E0751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orbel" panose="020B0503020204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421519-0F57-49E1-8CEE-8766296E74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008F4F0B-4A6E-4A62-8005-214D029FFB99}" type="datetime1">
              <a:rPr lang="en-US" smtClean="0"/>
              <a:pPr/>
              <a:t>12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FF8231-6154-4DE0-9616-E43CB3E84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200DCE-1120-4E9E-AD83-5C1C42A81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rbel" panose="020B0503020204020204" pitchFamily="34" charset="0"/>
              </a:defRPr>
            </a:lvl1pPr>
          </a:lstStyle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BB3D8FFF-1232-4098-A426-F939C204E1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111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519C6-7E05-4647-AAA1-2F49A43A9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1">
                <a:latin typeface="Corbel" panose="020B05030202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767740-7E71-45B5-8DB1-CF70783A190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1F84DA-2D3C-477A-9B59-85E2C457DD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Corbel" panose="020B0503020204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DBAE6C-F38D-48C4-9F5C-A488453F6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075E68-4F6B-431B-A6D2-AFD19C997A15}" type="datetime1">
              <a:rPr lang="en-US" smtClean="0"/>
              <a:t>12/4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A8BD36-685E-4AA5-A724-BFFBE134F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1520D6-67D1-4617-858C-A21E329748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‹#›</a:t>
            </a:fld>
            <a:endParaRPr lang="en-GB" altLang="de-DE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58E7B464-AE15-4A62-9557-57EB578792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42" y="6120612"/>
            <a:ext cx="2265819" cy="56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79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231BED8-4296-47FC-AA10-CF6987D24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016F0F-53ED-41F6-B311-AD4A23967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C32B84-D116-48DD-8208-54A02150D9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7773D0-772C-45F4-A74D-65140B7DFAC1}" type="datetime1">
              <a:rPr lang="en-US" smtClean="0"/>
              <a:t>12/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4F2D45-0F8A-421C-9842-23CAB49EB8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93B149-0900-4193-A69A-7166EDEAAF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37315ED7-DF31-4ECF-B210-1FC11366AE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681" y="1682"/>
          <a:ext cx="336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37315ED7-DF31-4ECF-B210-1FC11366AEC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2"/>
                        <a:ext cx="3360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1">
            <a:extLst>
              <a:ext uri="{FF2B5EF4-FFF2-40B4-BE49-F238E27FC236}">
                <a16:creationId xmlns:a16="http://schemas.microsoft.com/office/drawing/2014/main" id="{C6C8AF00-8EA9-473B-A01D-0B60F5665465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336" y="0"/>
            <a:ext cx="12191328" cy="182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10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882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si.org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ww.gesi.org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eforum.org/events/world-economic-forum-annual-meeting-2023" TargetMode="External"/><Relationship Id="rId7" Type="http://schemas.openxmlformats.org/officeDocument/2006/relationships/hyperlink" Target="https://ec.europa.eu/info/events/european-sustainable-energy-week-2023-2023-jun-20_en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vents.reutersevents.com/sustainable-business/responsible-business-europe" TargetMode="External"/><Relationship Id="rId5" Type="http://schemas.openxmlformats.org/officeDocument/2006/relationships/hyperlink" Target="https://tmt.knect365.com/big-5g-event/" TargetMode="External"/><Relationship Id="rId4" Type="http://schemas.openxmlformats.org/officeDocument/2006/relationships/hyperlink" Target="https://events.economist.com/sustainability-week-asia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eforum.org/events/world-economic-forum-annual-meeting-2023" TargetMode="External"/><Relationship Id="rId7" Type="http://schemas.openxmlformats.org/officeDocument/2006/relationships/hyperlink" Target="https://ec.europa.eu/info/events/european-sustainable-energy-week-2023-2023-jun-20_e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vents.reutersevents.com/sustainable-business/responsible-business-europe" TargetMode="External"/><Relationship Id="rId5" Type="http://schemas.openxmlformats.org/officeDocument/2006/relationships/hyperlink" Target="https://tmt.knect365.com/big-5g-event/" TargetMode="External"/><Relationship Id="rId4" Type="http://schemas.openxmlformats.org/officeDocument/2006/relationships/hyperlink" Target="https://events.economist.com/sustainability-week-asia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B44D3EB-EA9D-4DDE-B471-EFFA41A81BE8}"/>
              </a:ext>
            </a:extLst>
          </p:cNvPr>
          <p:cNvCxnSpPr/>
          <p:nvPr/>
        </p:nvCxnSpPr>
        <p:spPr>
          <a:xfrm>
            <a:off x="1388742" y="5257800"/>
            <a:ext cx="8486778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8">
            <a:extLst>
              <a:ext uri="{FF2B5EF4-FFF2-40B4-BE49-F238E27FC236}">
                <a16:creationId xmlns:a16="http://schemas.microsoft.com/office/drawing/2014/main" id="{C065BD47-90FF-43FB-82E7-F252954E1D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8742" y="4657635"/>
            <a:ext cx="8486778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285A73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285A73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rgbClr val="285A73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rgbClr val="285A73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9pPr>
          </a:lstStyle>
          <a:p>
            <a:pPr algn="ctr" defTabSz="482175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3600" b="1">
                <a:solidFill>
                  <a:schemeClr val="bg1"/>
                </a:solidFill>
                <a:latin typeface="Corbel" panose="020B0503020204020204" pitchFamily="34" charset="0"/>
                <a:cs typeface="Arial" charset="0"/>
              </a:rPr>
              <a:t>GeSI Board Call</a:t>
            </a:r>
          </a:p>
          <a:p>
            <a:pPr algn="ctr" defTabSz="482175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3600" b="1">
              <a:solidFill>
                <a:srgbClr val="FF0000"/>
              </a:solidFill>
              <a:latin typeface="Corbel" panose="020B0503020204020204" pitchFamily="34" charset="0"/>
              <a:cs typeface="Arial" charset="0"/>
            </a:endParaRP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8D39FC10-38E4-4EA4-BFD1-01D4CF824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0988" y="5257799"/>
            <a:ext cx="856453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 anchor="t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285A73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285A73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rgbClr val="285A73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rgbClr val="285A73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285A73"/>
                </a:solidFill>
                <a:latin typeface="Verdana" pitchFamily="34" charset="0"/>
              </a:defRPr>
            </a:lvl9pPr>
          </a:lstStyle>
          <a:p>
            <a:pPr algn="ctr" defTabSz="482175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400" dirty="0">
                <a:solidFill>
                  <a:schemeClr val="bg1"/>
                </a:solidFill>
                <a:latin typeface="Corbel"/>
                <a:cs typeface="Arial"/>
              </a:rPr>
              <a:t>Hybrid meeting</a:t>
            </a:r>
          </a:p>
          <a:p>
            <a:pPr algn="ctr" defTabSz="482175" eaLnBrk="1" fontAlgn="base" hangingPunct="1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400" dirty="0">
                <a:solidFill>
                  <a:schemeClr val="bg1"/>
                </a:solidFill>
                <a:latin typeface="Corbel"/>
                <a:cs typeface="Arial"/>
              </a:rPr>
              <a:t>5 December 2022</a:t>
            </a:r>
          </a:p>
        </p:txBody>
      </p:sp>
    </p:spTree>
    <p:extLst>
      <p:ext uri="{BB962C8B-B14F-4D97-AF65-F5344CB8AC3E}">
        <p14:creationId xmlns:p14="http://schemas.microsoft.com/office/powerpoint/2010/main" val="8065081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2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B44D3EB-EA9D-4DDE-B471-EFFA41A81BE8}"/>
              </a:ext>
            </a:extLst>
          </p:cNvPr>
          <p:cNvCxnSpPr/>
          <p:nvPr/>
        </p:nvCxnSpPr>
        <p:spPr>
          <a:xfrm>
            <a:off x="1388742" y="5257800"/>
            <a:ext cx="8486778" cy="0"/>
          </a:xfrm>
          <a:prstGeom prst="line">
            <a:avLst/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8E284EFC-C0BD-4AF3-88A1-42C13FB4ADC6}"/>
              </a:ext>
            </a:extLst>
          </p:cNvPr>
          <p:cNvSpPr txBox="1">
            <a:spLocks/>
          </p:cNvSpPr>
          <p:nvPr/>
        </p:nvSpPr>
        <p:spPr>
          <a:xfrm>
            <a:off x="1388742" y="3457575"/>
            <a:ext cx="8486778" cy="2686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896" marR="0" lvl="1" indent="-342896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+mj-lt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Global Enabling Sustainability Initiative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Rond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-Point Schuman 6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1040 Brussels, Belgium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E-mail: </a:t>
            </a:r>
            <a:r>
              <a:rPr kumimoji="0" lang="en-US" sz="2400" b="0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gesi.org</a:t>
            </a:r>
            <a:r>
              <a:rPr kumimoji="0" lang="en-US" sz="2400" b="0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esi.org</a:t>
            </a:r>
            <a:r>
              <a:rPr kumimoji="0" lang="en-US" sz="2400" b="0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1810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6A5B89-5E5D-4FDF-935C-1D0F9C35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98971"/>
          </a:xfrm>
        </p:spPr>
        <p:txBody>
          <a:bodyPr>
            <a:normAutofit fontScale="90000"/>
          </a:bodyPr>
          <a:lstStyle/>
          <a:p>
            <a:r>
              <a:rPr lang="en-US" sz="4000"/>
              <a:t>Agenda</a:t>
            </a:r>
            <a:endParaRPr lang="en-GB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27908-B431-4CCE-BC97-D09D9F4DB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2</a:t>
            </a:fld>
            <a:endParaRPr lang="en-GB" alt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F69942-E3F9-4EA8-9578-32C0B8B628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9876" y="1373332"/>
            <a:ext cx="5239479" cy="38773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rPr>
              <a:t>Approval of last call minutes and meeting agenda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ea typeface="Calibri" panose="020F0502020204030204" pitchFamily="34" charset="0"/>
                <a:cs typeface="Times New Roman" panose="02020603050405020304" pitchFamily="18" charset="0"/>
              </a:rPr>
              <a:t>GeSI Strategic Refresh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unch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I accounts and budget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effectLst/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rPr>
              <a:t>Overview of General Assembly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dirty="0" err="1">
                <a:effectLst/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rPr>
              <a:t>EcoVadis</a:t>
            </a:r>
            <a:endParaRPr lang="en-GB" sz="1800" dirty="0">
              <a:ea typeface="Corbel" panose="020B0503020204020204" pitchFamily="34" charset="0"/>
              <a:cs typeface="Corbel" panose="020B0503020204020204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y other business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spcAft>
                <a:spcPts val="1000"/>
              </a:spcAft>
              <a:buFont typeface="+mj-lt"/>
              <a:buAutoNum type="alphaLcPeriod"/>
            </a:pPr>
            <a:endParaRPr lang="en-GB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58EE6-811C-451F-A5D0-F6E5EF8E7F0A}"/>
              </a:ext>
            </a:extLst>
          </p:cNvPr>
          <p:cNvSpPr txBox="1"/>
          <p:nvPr/>
        </p:nvSpPr>
        <p:spPr>
          <a:xfrm>
            <a:off x="6095999" y="1373332"/>
            <a:ext cx="5732207" cy="46198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lvl="0" indent="-342900">
              <a:lnSpc>
                <a:spcPct val="150000"/>
              </a:lnSpc>
              <a:buFont typeface="+mj-lt"/>
              <a:buAutoNum type="arabicPeriod" startAt="8"/>
            </a:pP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ents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6-20</a:t>
            </a:r>
            <a:r>
              <a:rPr lang="en-AU" baseline="30000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January </a:t>
            </a: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World Economic Forum Annual Davos Meeting</a:t>
            </a:r>
            <a:endParaRPr lang="en-AU" dirty="0">
              <a:effectLst/>
              <a:latin typeface="Corbel" panose="020B0503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-9</a:t>
            </a:r>
            <a:r>
              <a:rPr lang="en-AU" baseline="30000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ebruary – 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Sustainability Week Asia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ingapore</a:t>
            </a:r>
            <a:endParaRPr lang="en-AU" dirty="0">
              <a:effectLst/>
              <a:latin typeface="Corbel" panose="020B0503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-17</a:t>
            </a:r>
            <a:r>
              <a:rPr lang="en-AU" baseline="30000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y – 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Big 5G Event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ustin TX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une 2023 – 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Responsible Business Europe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London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-22</a:t>
            </a:r>
            <a:r>
              <a:rPr lang="en-GB" baseline="30000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d</a:t>
            </a: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une – </a:t>
            </a: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European Sustainable Energy Week</a:t>
            </a: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Brussels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7-29</a:t>
            </a:r>
            <a:r>
              <a:rPr lang="en-AU" baseline="30000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ptember 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DWP Global Summit, Lisbon PT</a:t>
            </a:r>
            <a:endParaRPr lang="en-GB" dirty="0">
              <a:effectLst/>
              <a:latin typeface="Corbel" panose="020B0503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637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530" name="Rectangle 21521">
            <a:extLst>
              <a:ext uri="{FF2B5EF4-FFF2-40B4-BE49-F238E27FC236}">
                <a16:creationId xmlns:a16="http://schemas.microsoft.com/office/drawing/2014/main" id="{0671A8AE-40A1-4631-A6B8-581AFF065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506" name="Picture 2" descr="Planning Your Marketing Strategy and Tactics | build/create : build/create">
            <a:extLst>
              <a:ext uri="{FF2B5EF4-FFF2-40B4-BE49-F238E27FC236}">
                <a16:creationId xmlns:a16="http://schemas.microsoft.com/office/drawing/2014/main" id="{A49EFA42-B611-67FA-E532-8A4F30749E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53" t="9090"/>
          <a:stretch/>
        </p:blipFill>
        <p:spPr bwMode="auto">
          <a:xfrm>
            <a:off x="3523488" y="0"/>
            <a:ext cx="8668512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531" name="Rectangle 21523">
            <a:extLst>
              <a:ext uri="{FF2B5EF4-FFF2-40B4-BE49-F238E27FC236}">
                <a16:creationId xmlns:a16="http://schemas.microsoft.com/office/drawing/2014/main" id="{AB58EF07-17C2-48CF-ABB0-EEF1F17CB8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" y="0"/>
            <a:ext cx="9339206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3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014735-FD66-B0C9-CF3E-F3B7338BE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1" y="1122363"/>
            <a:ext cx="4023360" cy="3204134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sz="4800"/>
              <a:t>Board Meeting &amp; General Assembly: Strategy Brief</a:t>
            </a:r>
          </a:p>
        </p:txBody>
      </p:sp>
      <p:sp>
        <p:nvSpPr>
          <p:cNvPr id="21532" name="Rectangle 21525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533" name="Rectangle 21527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33E6E4-1B1F-B106-4F4C-4CD987702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0819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19439C65-DEC7-4726-875D-45A3F8C8961A}" type="slidenum">
              <a:rPr lang="en-US" altLang="de-DE" smtClean="0">
                <a:solidFill>
                  <a:schemeClr val="tx1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3</a:t>
            </a:fld>
            <a:endParaRPr lang="en-US" altLang="de-DE">
              <a:solidFill>
                <a:schemeClr val="tx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2566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4AA5EF0-CBF8-E5E8-70BD-76772D255B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28144"/>
            <a:ext cx="9144000" cy="2387600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LUNCH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B34EDDA-45B1-940D-BE35-7FF429F8F4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607819"/>
            <a:ext cx="9144000" cy="1655762"/>
          </a:xfrm>
        </p:spPr>
        <p:txBody>
          <a:bodyPr>
            <a:normAutofit/>
          </a:bodyPr>
          <a:lstStyle/>
          <a:p>
            <a:r>
              <a:rPr lang="en-GB" sz="4400" dirty="0">
                <a:solidFill>
                  <a:schemeClr val="bg1"/>
                </a:solidFill>
              </a:rPr>
              <a:t>1300-140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21803E-8DBB-3E03-6FF3-F56CD75A5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4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06722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F8F5B5-124A-F154-052F-8A506136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5</a:t>
            </a:fld>
            <a:endParaRPr lang="en-GB" altLang="de-DE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1ACC77-B6E6-DA71-6973-AB6F94F52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dirty="0">
                <a:latin typeface="Corbel"/>
              </a:rPr>
              <a:t>GeSI Accounts and 2023 Budg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367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067FDF-E4DD-0F6C-531E-31FD7A9E52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orbel"/>
              </a:rPr>
              <a:t>Overview of General Assembly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F8F5B5-124A-F154-052F-8A506136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6</a:t>
            </a:fld>
            <a:endParaRPr lang="en-GB" altLang="de-DE"/>
          </a:p>
        </p:txBody>
      </p:sp>
      <p:graphicFrame>
        <p:nvGraphicFramePr>
          <p:cNvPr id="15" name="TextBox 8">
            <a:extLst>
              <a:ext uri="{FF2B5EF4-FFF2-40B4-BE49-F238E27FC236}">
                <a16:creationId xmlns:a16="http://schemas.microsoft.com/office/drawing/2014/main" id="{17E0BDCB-9AAB-EA55-6989-A89200C8CA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9449390"/>
              </p:ext>
            </p:extLst>
          </p:nvPr>
        </p:nvGraphicFramePr>
        <p:xfrm>
          <a:off x="838200" y="1690688"/>
          <a:ext cx="4330700" cy="42043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F5A756E9-F75F-9255-E524-84D287E521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7221" y="2180758"/>
            <a:ext cx="6246758" cy="339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032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513" name="Rectangle 21512">
            <a:extLst>
              <a:ext uri="{FF2B5EF4-FFF2-40B4-BE49-F238E27FC236}">
                <a16:creationId xmlns:a16="http://schemas.microsoft.com/office/drawing/2014/main" id="{870A1295-61BC-4214-AA3E-D39667302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C1ACC77-B6E6-DA71-6973-AB6F94F52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2" y="5116529"/>
            <a:ext cx="10592174" cy="1000655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 err="1"/>
              <a:t>EcoVadis</a:t>
            </a:r>
            <a:r>
              <a:rPr lang="en-US" sz="4000" dirty="0"/>
              <a:t> Methodology</a:t>
            </a:r>
          </a:p>
        </p:txBody>
      </p:sp>
      <p:pic>
        <p:nvPicPr>
          <p:cNvPr id="21508" name="Picture 4" descr="Ecovadis - Nunner Logistics">
            <a:extLst>
              <a:ext uri="{FF2B5EF4-FFF2-40B4-BE49-F238E27FC236}">
                <a16:creationId xmlns:a16="http://schemas.microsoft.com/office/drawing/2014/main" id="{478225CF-650B-4873-9CAA-1856B6A961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63"/>
          <a:stretch/>
        </p:blipFill>
        <p:spPr bwMode="auto">
          <a:xfrm>
            <a:off x="-1" y="10"/>
            <a:ext cx="12192001" cy="4201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515" name="Group 21514">
            <a:extLst>
              <a:ext uri="{FF2B5EF4-FFF2-40B4-BE49-F238E27FC236}">
                <a16:creationId xmlns:a16="http://schemas.microsoft.com/office/drawing/2014/main" id="{0B139475-2B26-4CA9-9413-DE741E49F7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1" y="2941813"/>
            <a:ext cx="12188952" cy="1828800"/>
            <a:chOff x="-305" y="3144820"/>
            <a:chExt cx="9182100" cy="1551136"/>
          </a:xfrm>
        </p:grpSpPr>
        <p:sp useBgFill="1">
          <p:nvSpPr>
            <p:cNvPr id="21516" name="Freeform: Shape 21515">
              <a:extLst>
                <a:ext uri="{FF2B5EF4-FFF2-40B4-BE49-F238E27FC236}">
                  <a16:creationId xmlns:a16="http://schemas.microsoft.com/office/drawing/2014/main" id="{16C6BF63-6277-4C39-BE5D-3C341662CE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676854"/>
              <a:ext cx="9182100" cy="1019102"/>
            </a:xfrm>
            <a:custGeom>
              <a:avLst/>
              <a:gdLst>
                <a:gd name="connsiteX0" fmla="*/ 0 w 9182100"/>
                <a:gd name="connsiteY0" fmla="*/ 1019102 h 1019102"/>
                <a:gd name="connsiteX1" fmla="*/ 9182100 w 9182100"/>
                <a:gd name="connsiteY1" fmla="*/ 1019102 h 1019102"/>
                <a:gd name="connsiteX2" fmla="*/ 9182100 w 9182100"/>
                <a:gd name="connsiteY2" fmla="*/ 273009 h 1019102"/>
                <a:gd name="connsiteX3" fmla="*/ 9065895 w 9182100"/>
                <a:gd name="connsiteY3" fmla="*/ 278343 h 1019102"/>
                <a:gd name="connsiteX4" fmla="*/ 8261890 w 9182100"/>
                <a:gd name="connsiteY4" fmla="*/ 257769 h 1019102"/>
                <a:gd name="connsiteX5" fmla="*/ 8038624 w 9182100"/>
                <a:gd name="connsiteY5" fmla="*/ 235956 h 1019102"/>
                <a:gd name="connsiteX6" fmla="*/ 7862221 w 9182100"/>
                <a:gd name="connsiteY6" fmla="*/ 213097 h 1019102"/>
                <a:gd name="connsiteX7" fmla="*/ 6238780 w 9182100"/>
                <a:gd name="connsiteY7" fmla="*/ 126419 h 1019102"/>
                <a:gd name="connsiteX8" fmla="*/ 5828729 w 9182100"/>
                <a:gd name="connsiteY8" fmla="*/ 142421 h 1019102"/>
                <a:gd name="connsiteX9" fmla="*/ 5227606 w 9182100"/>
                <a:gd name="connsiteY9" fmla="*/ 219764 h 1019102"/>
                <a:gd name="connsiteX10" fmla="*/ 4394359 w 9182100"/>
                <a:gd name="connsiteY10" fmla="*/ 190713 h 1019102"/>
                <a:gd name="connsiteX11" fmla="*/ 3789236 w 9182100"/>
                <a:gd name="connsiteY11" fmla="*/ 107655 h 1019102"/>
                <a:gd name="connsiteX12" fmla="*/ 3391567 w 9182100"/>
                <a:gd name="connsiteY12" fmla="*/ 30502 h 1019102"/>
                <a:gd name="connsiteX13" fmla="*/ 2180177 w 9182100"/>
                <a:gd name="connsiteY13" fmla="*/ 67745 h 1019102"/>
                <a:gd name="connsiteX14" fmla="*/ 1543336 w 9182100"/>
                <a:gd name="connsiteY14" fmla="*/ 209953 h 1019102"/>
                <a:gd name="connsiteX15" fmla="*/ 1276731 w 9182100"/>
                <a:gd name="connsiteY15" fmla="*/ 286439 h 1019102"/>
                <a:gd name="connsiteX16" fmla="*/ 441293 w 9182100"/>
                <a:gd name="connsiteY16" fmla="*/ 292345 h 1019102"/>
                <a:gd name="connsiteX17" fmla="*/ 0 w 9182100"/>
                <a:gd name="connsiteY17" fmla="*/ 135563 h 1019102"/>
                <a:gd name="connsiteX18" fmla="*/ 0 w 9182100"/>
                <a:gd name="connsiteY18" fmla="*/ 1019102 h 101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82100" h="1019102">
                  <a:moveTo>
                    <a:pt x="0" y="1019102"/>
                  </a:moveTo>
                  <a:lnTo>
                    <a:pt x="9182100" y="1019102"/>
                  </a:lnTo>
                  <a:lnTo>
                    <a:pt x="9182100" y="273009"/>
                  </a:lnTo>
                  <a:cubicBezTo>
                    <a:pt x="9143429" y="275485"/>
                    <a:pt x="9104662" y="277200"/>
                    <a:pt x="9065895" y="278343"/>
                  </a:cubicBezTo>
                  <a:cubicBezTo>
                    <a:pt x="8798243" y="285201"/>
                    <a:pt x="8529066" y="277009"/>
                    <a:pt x="8261890" y="257769"/>
                  </a:cubicBezTo>
                  <a:cubicBezTo>
                    <a:pt x="8187024" y="251863"/>
                    <a:pt x="8112443" y="245386"/>
                    <a:pt x="8038624" y="235956"/>
                  </a:cubicBezTo>
                  <a:cubicBezTo>
                    <a:pt x="7980140" y="228051"/>
                    <a:pt x="7920228" y="219002"/>
                    <a:pt x="7862221" y="213097"/>
                  </a:cubicBezTo>
                  <a:cubicBezTo>
                    <a:pt x="7322439" y="159280"/>
                    <a:pt x="6780943" y="130991"/>
                    <a:pt x="6238780" y="126419"/>
                  </a:cubicBezTo>
                  <a:cubicBezTo>
                    <a:pt x="6102477" y="126324"/>
                    <a:pt x="5964745" y="128800"/>
                    <a:pt x="5828729" y="142421"/>
                  </a:cubicBezTo>
                  <a:cubicBezTo>
                    <a:pt x="5624703" y="162328"/>
                    <a:pt x="5429441" y="202048"/>
                    <a:pt x="5227606" y="219764"/>
                  </a:cubicBezTo>
                  <a:cubicBezTo>
                    <a:pt x="4950238" y="245767"/>
                    <a:pt x="4670393" y="228527"/>
                    <a:pt x="4394359" y="190713"/>
                  </a:cubicBezTo>
                  <a:cubicBezTo>
                    <a:pt x="4193381" y="163090"/>
                    <a:pt x="3988880" y="147755"/>
                    <a:pt x="3789236" y="107655"/>
                  </a:cubicBezTo>
                  <a:cubicBezTo>
                    <a:pt x="3660743" y="85271"/>
                    <a:pt x="3520249" y="51648"/>
                    <a:pt x="3391567" y="30502"/>
                  </a:cubicBezTo>
                  <a:cubicBezTo>
                    <a:pt x="2990469" y="-28553"/>
                    <a:pt x="2579370" y="5928"/>
                    <a:pt x="2180177" y="67745"/>
                  </a:cubicBezTo>
                  <a:cubicBezTo>
                    <a:pt x="1965198" y="103273"/>
                    <a:pt x="1751648" y="146136"/>
                    <a:pt x="1543336" y="209953"/>
                  </a:cubicBezTo>
                  <a:cubicBezTo>
                    <a:pt x="1456087" y="238528"/>
                    <a:pt x="1365885" y="264627"/>
                    <a:pt x="1276731" y="286439"/>
                  </a:cubicBezTo>
                  <a:cubicBezTo>
                    <a:pt x="1001173" y="335398"/>
                    <a:pt x="716471" y="346923"/>
                    <a:pt x="441293" y="292345"/>
                  </a:cubicBezTo>
                  <a:cubicBezTo>
                    <a:pt x="285655" y="263198"/>
                    <a:pt x="143923" y="198237"/>
                    <a:pt x="0" y="135563"/>
                  </a:cubicBezTo>
                  <a:lnTo>
                    <a:pt x="0" y="1019102"/>
                  </a:lnTo>
                  <a:close/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517" name="Freeform: Shape 21516">
              <a:extLst>
                <a:ext uri="{FF2B5EF4-FFF2-40B4-BE49-F238E27FC236}">
                  <a16:creationId xmlns:a16="http://schemas.microsoft.com/office/drawing/2014/main" id="{6EA3BAD9-C130-4A9C-9086-20D132A6CF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144820"/>
              <a:ext cx="9182100" cy="932744"/>
            </a:xfrm>
            <a:custGeom>
              <a:avLst/>
              <a:gdLst>
                <a:gd name="connsiteX0" fmla="*/ 9182100 w 9182100"/>
                <a:gd name="connsiteY0" fmla="*/ 396420 h 932744"/>
                <a:gd name="connsiteX1" fmla="*/ 9103805 w 9182100"/>
                <a:gd name="connsiteY1" fmla="*/ 392229 h 932744"/>
                <a:gd name="connsiteX2" fmla="*/ 8712422 w 9182100"/>
                <a:gd name="connsiteY2" fmla="*/ 359749 h 932744"/>
                <a:gd name="connsiteX3" fmla="*/ 8322755 w 9182100"/>
                <a:gd name="connsiteY3" fmla="*/ 313362 h 932744"/>
                <a:gd name="connsiteX4" fmla="*/ 8134826 w 9182100"/>
                <a:gd name="connsiteY4" fmla="*/ 283930 h 932744"/>
                <a:gd name="connsiteX5" fmla="*/ 8090916 w 9182100"/>
                <a:gd name="connsiteY5" fmla="*/ 275643 h 932744"/>
                <a:gd name="connsiteX6" fmla="*/ 8069485 w 9182100"/>
                <a:gd name="connsiteY6" fmla="*/ 271262 h 932744"/>
                <a:gd name="connsiteX7" fmla="*/ 8041862 w 9182100"/>
                <a:gd name="connsiteY7" fmla="*/ 266595 h 932744"/>
                <a:gd name="connsiteX8" fmla="*/ 7986903 w 9182100"/>
                <a:gd name="connsiteY8" fmla="*/ 257546 h 932744"/>
                <a:gd name="connsiteX9" fmla="*/ 7934230 w 9182100"/>
                <a:gd name="connsiteY9" fmla="*/ 249640 h 932744"/>
                <a:gd name="connsiteX10" fmla="*/ 7727537 w 9182100"/>
                <a:gd name="connsiteY10" fmla="*/ 221922 h 932744"/>
                <a:gd name="connsiteX11" fmla="*/ 7625239 w 9182100"/>
                <a:gd name="connsiteY11" fmla="*/ 209730 h 932744"/>
                <a:gd name="connsiteX12" fmla="*/ 7523227 w 9182100"/>
                <a:gd name="connsiteY12" fmla="*/ 198110 h 932744"/>
                <a:gd name="connsiteX13" fmla="*/ 7115651 w 9182100"/>
                <a:gd name="connsiteY13" fmla="*/ 158010 h 932744"/>
                <a:gd name="connsiteX14" fmla="*/ 6706839 w 9182100"/>
                <a:gd name="connsiteY14" fmla="*/ 126958 h 932744"/>
                <a:gd name="connsiteX15" fmla="*/ 6604064 w 9182100"/>
                <a:gd name="connsiteY15" fmla="*/ 120862 h 932744"/>
                <a:gd name="connsiteX16" fmla="*/ 6501003 w 9182100"/>
                <a:gd name="connsiteY16" fmla="*/ 115338 h 932744"/>
                <a:gd name="connsiteX17" fmla="*/ 6397467 w 9182100"/>
                <a:gd name="connsiteY17" fmla="*/ 110385 h 932744"/>
                <a:gd name="connsiteX18" fmla="*/ 6293168 w 9182100"/>
                <a:gd name="connsiteY18" fmla="*/ 106860 h 932744"/>
                <a:gd name="connsiteX19" fmla="*/ 6079712 w 9182100"/>
                <a:gd name="connsiteY19" fmla="*/ 103908 h 932744"/>
                <a:gd name="connsiteX20" fmla="*/ 6024563 w 9182100"/>
                <a:gd name="connsiteY20" fmla="*/ 104479 h 932744"/>
                <a:gd name="connsiteX21" fmla="*/ 5968080 w 9182100"/>
                <a:gd name="connsiteY21" fmla="*/ 106479 h 932744"/>
                <a:gd name="connsiteX22" fmla="*/ 5855875 w 9182100"/>
                <a:gd name="connsiteY22" fmla="*/ 113242 h 932744"/>
                <a:gd name="connsiteX23" fmla="*/ 5439251 w 9182100"/>
                <a:gd name="connsiteY23" fmla="*/ 160105 h 932744"/>
                <a:gd name="connsiteX24" fmla="*/ 5075396 w 9182100"/>
                <a:gd name="connsiteY24" fmla="*/ 186585 h 932744"/>
                <a:gd name="connsiteX25" fmla="*/ 4712780 w 9182100"/>
                <a:gd name="connsiteY25" fmla="*/ 171249 h 932744"/>
                <a:gd name="connsiteX26" fmla="*/ 4666679 w 9182100"/>
                <a:gd name="connsiteY26" fmla="*/ 166773 h 932744"/>
                <a:gd name="connsiteX27" fmla="*/ 4620292 w 9182100"/>
                <a:gd name="connsiteY27" fmla="*/ 161629 h 932744"/>
                <a:gd name="connsiteX28" fmla="*/ 4573810 w 9182100"/>
                <a:gd name="connsiteY28" fmla="*/ 156009 h 932744"/>
                <a:gd name="connsiteX29" fmla="*/ 4550569 w 9182100"/>
                <a:gd name="connsiteY29" fmla="*/ 153057 h 932744"/>
                <a:gd name="connsiteX30" fmla="*/ 4538948 w 9182100"/>
                <a:gd name="connsiteY30" fmla="*/ 151628 h 932744"/>
                <a:gd name="connsiteX31" fmla="*/ 4526566 w 9182100"/>
                <a:gd name="connsiteY31" fmla="*/ 149913 h 932744"/>
                <a:gd name="connsiteX32" fmla="*/ 4327779 w 9182100"/>
                <a:gd name="connsiteY32" fmla="*/ 122862 h 932744"/>
                <a:gd name="connsiteX33" fmla="*/ 3929729 w 9182100"/>
                <a:gd name="connsiteY33" fmla="*/ 68189 h 932744"/>
                <a:gd name="connsiteX34" fmla="*/ 3729133 w 9182100"/>
                <a:gd name="connsiteY34" fmla="*/ 41900 h 932744"/>
                <a:gd name="connsiteX35" fmla="*/ 3628930 w 9182100"/>
                <a:gd name="connsiteY35" fmla="*/ 28946 h 932744"/>
                <a:gd name="connsiteX36" fmla="*/ 3573399 w 9182100"/>
                <a:gd name="connsiteY36" fmla="*/ 22278 h 932744"/>
                <a:gd name="connsiteX37" fmla="*/ 3516916 w 9182100"/>
                <a:gd name="connsiteY37" fmla="*/ 16468 h 932744"/>
                <a:gd name="connsiteX38" fmla="*/ 3074670 w 9182100"/>
                <a:gd name="connsiteY38" fmla="*/ 752 h 932744"/>
                <a:gd name="connsiteX39" fmla="*/ 2858738 w 9182100"/>
                <a:gd name="connsiteY39" fmla="*/ 8753 h 932744"/>
                <a:gd name="connsiteX40" fmla="*/ 2645474 w 9182100"/>
                <a:gd name="connsiteY40" fmla="*/ 25326 h 932744"/>
                <a:gd name="connsiteX41" fmla="*/ 1810798 w 9182100"/>
                <a:gd name="connsiteY41" fmla="*/ 158010 h 932744"/>
                <a:gd name="connsiteX42" fmla="*/ 1602772 w 9182100"/>
                <a:gd name="connsiteY42" fmla="*/ 208111 h 932744"/>
                <a:gd name="connsiteX43" fmla="*/ 1548860 w 9182100"/>
                <a:gd name="connsiteY43" fmla="*/ 222780 h 932744"/>
                <a:gd name="connsiteX44" fmla="*/ 1501331 w 9182100"/>
                <a:gd name="connsiteY44" fmla="*/ 236115 h 932744"/>
                <a:gd name="connsiteX45" fmla="*/ 1411224 w 9182100"/>
                <a:gd name="connsiteY45" fmla="*/ 260880 h 932744"/>
                <a:gd name="connsiteX46" fmla="*/ 1050893 w 9182100"/>
                <a:gd name="connsiteY46" fmla="*/ 338032 h 932744"/>
                <a:gd name="connsiteX47" fmla="*/ 871252 w 9182100"/>
                <a:gd name="connsiteY47" fmla="*/ 360511 h 932744"/>
                <a:gd name="connsiteX48" fmla="*/ 781812 w 9182100"/>
                <a:gd name="connsiteY48" fmla="*/ 366512 h 932744"/>
                <a:gd name="connsiteX49" fmla="*/ 692563 w 9182100"/>
                <a:gd name="connsiteY49" fmla="*/ 369655 h 932744"/>
                <a:gd name="connsiteX50" fmla="*/ 515017 w 9182100"/>
                <a:gd name="connsiteY50" fmla="*/ 363940 h 932744"/>
                <a:gd name="connsiteX51" fmla="*/ 337661 w 9182100"/>
                <a:gd name="connsiteY51" fmla="*/ 341937 h 932744"/>
                <a:gd name="connsiteX52" fmla="*/ 156972 w 9182100"/>
                <a:gd name="connsiteY52" fmla="*/ 303456 h 932744"/>
                <a:gd name="connsiteX53" fmla="*/ 0 w 9182100"/>
                <a:gd name="connsiteY53" fmla="*/ 261642 h 932744"/>
                <a:gd name="connsiteX54" fmla="*/ 0 w 9182100"/>
                <a:gd name="connsiteY54" fmla="*/ 713412 h 932744"/>
                <a:gd name="connsiteX55" fmla="*/ 9144 w 9182100"/>
                <a:gd name="connsiteY55" fmla="*/ 717699 h 932744"/>
                <a:gd name="connsiteX56" fmla="*/ 213360 w 9182100"/>
                <a:gd name="connsiteY56" fmla="*/ 801042 h 932744"/>
                <a:gd name="connsiteX57" fmla="*/ 653510 w 9182100"/>
                <a:gd name="connsiteY57" fmla="*/ 908199 h 932744"/>
                <a:gd name="connsiteX58" fmla="*/ 1101947 w 9182100"/>
                <a:gd name="connsiteY58" fmla="*/ 930773 h 932744"/>
                <a:gd name="connsiteX59" fmla="*/ 1540002 w 9182100"/>
                <a:gd name="connsiteY59" fmla="*/ 889434 h 932744"/>
                <a:gd name="connsiteX60" fmla="*/ 1647158 w 9182100"/>
                <a:gd name="connsiteY60" fmla="*/ 871242 h 932744"/>
                <a:gd name="connsiteX61" fmla="*/ 1698117 w 9182100"/>
                <a:gd name="connsiteY61" fmla="*/ 862193 h 932744"/>
                <a:gd name="connsiteX62" fmla="*/ 1742789 w 9182100"/>
                <a:gd name="connsiteY62" fmla="*/ 854668 h 932744"/>
                <a:gd name="connsiteX63" fmla="*/ 1931003 w 9182100"/>
                <a:gd name="connsiteY63" fmla="*/ 826950 h 932744"/>
                <a:gd name="connsiteX64" fmla="*/ 2314861 w 9182100"/>
                <a:gd name="connsiteY64" fmla="*/ 783897 h 932744"/>
                <a:gd name="connsiteX65" fmla="*/ 2506885 w 9182100"/>
                <a:gd name="connsiteY65" fmla="*/ 768086 h 932744"/>
                <a:gd name="connsiteX66" fmla="*/ 2602611 w 9182100"/>
                <a:gd name="connsiteY66" fmla="*/ 762085 h 932744"/>
                <a:gd name="connsiteX67" fmla="*/ 2698052 w 9182100"/>
                <a:gd name="connsiteY67" fmla="*/ 756846 h 932744"/>
                <a:gd name="connsiteX68" fmla="*/ 2887980 w 9182100"/>
                <a:gd name="connsiteY68" fmla="*/ 750846 h 932744"/>
                <a:gd name="connsiteX69" fmla="*/ 3075813 w 9182100"/>
                <a:gd name="connsiteY69" fmla="*/ 750179 h 932744"/>
                <a:gd name="connsiteX70" fmla="*/ 3168587 w 9182100"/>
                <a:gd name="connsiteY70" fmla="*/ 752751 h 932744"/>
                <a:gd name="connsiteX71" fmla="*/ 3260408 w 9182100"/>
                <a:gd name="connsiteY71" fmla="*/ 756656 h 932744"/>
                <a:gd name="connsiteX72" fmla="*/ 3440049 w 9182100"/>
                <a:gd name="connsiteY72" fmla="*/ 771610 h 932744"/>
                <a:gd name="connsiteX73" fmla="*/ 3483864 w 9182100"/>
                <a:gd name="connsiteY73" fmla="*/ 776849 h 932744"/>
                <a:gd name="connsiteX74" fmla="*/ 3528536 w 9182100"/>
                <a:gd name="connsiteY74" fmla="*/ 782469 h 932744"/>
                <a:gd name="connsiteX75" fmla="*/ 3628549 w 9182100"/>
                <a:gd name="connsiteY75" fmla="*/ 796089 h 932744"/>
                <a:gd name="connsiteX76" fmla="*/ 3828574 w 9182100"/>
                <a:gd name="connsiteY76" fmla="*/ 823140 h 932744"/>
                <a:gd name="connsiteX77" fmla="*/ 4231196 w 9182100"/>
                <a:gd name="connsiteY77" fmla="*/ 874099 h 932744"/>
                <a:gd name="connsiteX78" fmla="*/ 4433126 w 9182100"/>
                <a:gd name="connsiteY78" fmla="*/ 897435 h 932744"/>
                <a:gd name="connsiteX79" fmla="*/ 4485990 w 9182100"/>
                <a:gd name="connsiteY79" fmla="*/ 903246 h 932744"/>
                <a:gd name="connsiteX80" fmla="*/ 4539806 w 9182100"/>
                <a:gd name="connsiteY80" fmla="*/ 908961 h 932744"/>
                <a:gd name="connsiteX81" fmla="*/ 4593908 w 9182100"/>
                <a:gd name="connsiteY81" fmla="*/ 914199 h 932744"/>
                <a:gd name="connsiteX82" fmla="*/ 4648296 w 9182100"/>
                <a:gd name="connsiteY82" fmla="*/ 918771 h 932744"/>
                <a:gd name="connsiteX83" fmla="*/ 5092446 w 9182100"/>
                <a:gd name="connsiteY83" fmla="*/ 931154 h 932744"/>
                <a:gd name="connsiteX84" fmla="*/ 5533168 w 9182100"/>
                <a:gd name="connsiteY84" fmla="*/ 891816 h 932744"/>
                <a:gd name="connsiteX85" fmla="*/ 5918169 w 9182100"/>
                <a:gd name="connsiteY85" fmla="*/ 840666 h 932744"/>
                <a:gd name="connsiteX86" fmla="*/ 6007323 w 9182100"/>
                <a:gd name="connsiteY86" fmla="*/ 833237 h 932744"/>
                <a:gd name="connsiteX87" fmla="*/ 6051709 w 9182100"/>
                <a:gd name="connsiteY87" fmla="*/ 830570 h 932744"/>
                <a:gd name="connsiteX88" fmla="*/ 6097429 w 9182100"/>
                <a:gd name="connsiteY88" fmla="*/ 828379 h 932744"/>
                <a:gd name="connsiteX89" fmla="*/ 6287834 w 9182100"/>
                <a:gd name="connsiteY89" fmla="*/ 822569 h 932744"/>
                <a:gd name="connsiteX90" fmla="*/ 6681597 w 9182100"/>
                <a:gd name="connsiteY90" fmla="*/ 821235 h 932744"/>
                <a:gd name="connsiteX91" fmla="*/ 7079647 w 9182100"/>
                <a:gd name="connsiteY91" fmla="*/ 826569 h 932744"/>
                <a:gd name="connsiteX92" fmla="*/ 7478173 w 9182100"/>
                <a:gd name="connsiteY92" fmla="*/ 836094 h 932744"/>
                <a:gd name="connsiteX93" fmla="*/ 7871937 w 9182100"/>
                <a:gd name="connsiteY93" fmla="*/ 851430 h 932744"/>
                <a:gd name="connsiteX94" fmla="*/ 7919657 w 9182100"/>
                <a:gd name="connsiteY94" fmla="*/ 854097 h 932744"/>
                <a:gd name="connsiteX95" fmla="*/ 7964901 w 9182100"/>
                <a:gd name="connsiteY95" fmla="*/ 857240 h 932744"/>
                <a:gd name="connsiteX96" fmla="*/ 8015955 w 9182100"/>
                <a:gd name="connsiteY96" fmla="*/ 861050 h 932744"/>
                <a:gd name="connsiteX97" fmla="*/ 8072247 w 9182100"/>
                <a:gd name="connsiteY97" fmla="*/ 864384 h 932744"/>
                <a:gd name="connsiteX98" fmla="*/ 8286750 w 9182100"/>
                <a:gd name="connsiteY98" fmla="*/ 868384 h 932744"/>
                <a:gd name="connsiteX99" fmla="*/ 8704040 w 9182100"/>
                <a:gd name="connsiteY99" fmla="*/ 853716 h 932744"/>
                <a:gd name="connsiteX100" fmla="*/ 9120188 w 9182100"/>
                <a:gd name="connsiteY100" fmla="*/ 814092 h 932744"/>
                <a:gd name="connsiteX101" fmla="*/ 9181909 w 9182100"/>
                <a:gd name="connsiteY101" fmla="*/ 805519 h 932744"/>
                <a:gd name="connsiteX102" fmla="*/ 9181909 w 9182100"/>
                <a:gd name="connsiteY102" fmla="*/ 396420 h 93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9182100" h="932744">
                  <a:moveTo>
                    <a:pt x="9182100" y="396420"/>
                  </a:moveTo>
                  <a:cubicBezTo>
                    <a:pt x="9156097" y="395182"/>
                    <a:pt x="9129999" y="393753"/>
                    <a:pt x="9103805" y="392229"/>
                  </a:cubicBezTo>
                  <a:cubicBezTo>
                    <a:pt x="8974169" y="384419"/>
                    <a:pt x="8843105" y="372989"/>
                    <a:pt x="8712422" y="359749"/>
                  </a:cubicBezTo>
                  <a:cubicBezTo>
                    <a:pt x="8581739" y="346319"/>
                    <a:pt x="8451056" y="331269"/>
                    <a:pt x="8322755" y="313362"/>
                  </a:cubicBezTo>
                  <a:cubicBezTo>
                    <a:pt x="8258747" y="304695"/>
                    <a:pt x="8195120" y="294979"/>
                    <a:pt x="8134826" y="283930"/>
                  </a:cubicBezTo>
                  <a:cubicBezTo>
                    <a:pt x="8119872" y="281168"/>
                    <a:pt x="8105013" y="278501"/>
                    <a:pt x="8090916" y="275643"/>
                  </a:cubicBezTo>
                  <a:lnTo>
                    <a:pt x="8069485" y="271262"/>
                  </a:lnTo>
                  <a:lnTo>
                    <a:pt x="8041862" y="266595"/>
                  </a:lnTo>
                  <a:cubicBezTo>
                    <a:pt x="8023574" y="263547"/>
                    <a:pt x="8004524" y="260213"/>
                    <a:pt x="7986903" y="257546"/>
                  </a:cubicBezTo>
                  <a:lnTo>
                    <a:pt x="7934230" y="249640"/>
                  </a:lnTo>
                  <a:cubicBezTo>
                    <a:pt x="7864221" y="239258"/>
                    <a:pt x="7795832" y="230209"/>
                    <a:pt x="7727537" y="221922"/>
                  </a:cubicBezTo>
                  <a:lnTo>
                    <a:pt x="7625239" y="209730"/>
                  </a:lnTo>
                  <a:lnTo>
                    <a:pt x="7523227" y="198110"/>
                  </a:lnTo>
                  <a:cubicBezTo>
                    <a:pt x="7387209" y="183060"/>
                    <a:pt x="7251573" y="170392"/>
                    <a:pt x="7115651" y="158010"/>
                  </a:cubicBezTo>
                  <a:cubicBezTo>
                    <a:pt x="6979730" y="146580"/>
                    <a:pt x="6843522" y="135721"/>
                    <a:pt x="6706839" y="126958"/>
                  </a:cubicBezTo>
                  <a:lnTo>
                    <a:pt x="6604064" y="120862"/>
                  </a:lnTo>
                  <a:cubicBezTo>
                    <a:pt x="6569869" y="118767"/>
                    <a:pt x="6535484" y="116862"/>
                    <a:pt x="6501003" y="115338"/>
                  </a:cubicBezTo>
                  <a:lnTo>
                    <a:pt x="6397467" y="110385"/>
                  </a:lnTo>
                  <a:lnTo>
                    <a:pt x="6293168" y="106860"/>
                  </a:lnTo>
                  <a:cubicBezTo>
                    <a:pt x="6222969" y="105146"/>
                    <a:pt x="6152769" y="103527"/>
                    <a:pt x="6079712" y="103908"/>
                  </a:cubicBezTo>
                  <a:cubicBezTo>
                    <a:pt x="6061710" y="103908"/>
                    <a:pt x="6043708" y="103812"/>
                    <a:pt x="6024563" y="104479"/>
                  </a:cubicBezTo>
                  <a:cubicBezTo>
                    <a:pt x="6005703" y="104955"/>
                    <a:pt x="5986844" y="105527"/>
                    <a:pt x="5968080" y="106479"/>
                  </a:cubicBezTo>
                  <a:cubicBezTo>
                    <a:pt x="5930456" y="108003"/>
                    <a:pt x="5893023" y="110385"/>
                    <a:pt x="5855875" y="113242"/>
                  </a:cubicBezTo>
                  <a:cubicBezTo>
                    <a:pt x="5706904" y="124577"/>
                    <a:pt x="5565934" y="145151"/>
                    <a:pt x="5439251" y="160105"/>
                  </a:cubicBezTo>
                  <a:cubicBezTo>
                    <a:pt x="5311902" y="175536"/>
                    <a:pt x="5194745" y="184680"/>
                    <a:pt x="5075396" y="186585"/>
                  </a:cubicBezTo>
                  <a:cubicBezTo>
                    <a:pt x="4956429" y="188490"/>
                    <a:pt x="4835748" y="182775"/>
                    <a:pt x="4712780" y="171249"/>
                  </a:cubicBezTo>
                  <a:lnTo>
                    <a:pt x="4666679" y="166773"/>
                  </a:lnTo>
                  <a:lnTo>
                    <a:pt x="4620292" y="161629"/>
                  </a:lnTo>
                  <a:cubicBezTo>
                    <a:pt x="4604862" y="160010"/>
                    <a:pt x="4589336" y="157914"/>
                    <a:pt x="4573810" y="156009"/>
                  </a:cubicBezTo>
                  <a:lnTo>
                    <a:pt x="4550569" y="153057"/>
                  </a:lnTo>
                  <a:lnTo>
                    <a:pt x="4538948" y="151628"/>
                  </a:lnTo>
                  <a:lnTo>
                    <a:pt x="4526566" y="149913"/>
                  </a:lnTo>
                  <a:lnTo>
                    <a:pt x="4327779" y="122862"/>
                  </a:lnTo>
                  <a:lnTo>
                    <a:pt x="3929729" y="68189"/>
                  </a:lnTo>
                  <a:lnTo>
                    <a:pt x="3729133" y="41900"/>
                  </a:lnTo>
                  <a:lnTo>
                    <a:pt x="3628930" y="28946"/>
                  </a:lnTo>
                  <a:lnTo>
                    <a:pt x="3573399" y="22278"/>
                  </a:lnTo>
                  <a:cubicBezTo>
                    <a:pt x="3554445" y="19992"/>
                    <a:pt x="3535585" y="17992"/>
                    <a:pt x="3516916" y="16468"/>
                  </a:cubicBezTo>
                  <a:cubicBezTo>
                    <a:pt x="3366611" y="2752"/>
                    <a:pt x="3219736" y="-2010"/>
                    <a:pt x="3074670" y="752"/>
                  </a:cubicBezTo>
                  <a:cubicBezTo>
                    <a:pt x="3002280" y="2181"/>
                    <a:pt x="2930176" y="4467"/>
                    <a:pt x="2858738" y="8753"/>
                  </a:cubicBezTo>
                  <a:cubicBezTo>
                    <a:pt x="2787206" y="13039"/>
                    <a:pt x="2716149" y="18754"/>
                    <a:pt x="2645474" y="25326"/>
                  </a:cubicBezTo>
                  <a:cubicBezTo>
                    <a:pt x="2362581" y="52473"/>
                    <a:pt x="2085975" y="97145"/>
                    <a:pt x="1810798" y="158010"/>
                  </a:cubicBezTo>
                  <a:cubicBezTo>
                    <a:pt x="1741837" y="173345"/>
                    <a:pt x="1673066" y="189442"/>
                    <a:pt x="1602772" y="208111"/>
                  </a:cubicBezTo>
                  <a:lnTo>
                    <a:pt x="1548860" y="222780"/>
                  </a:lnTo>
                  <a:lnTo>
                    <a:pt x="1501331" y="236115"/>
                  </a:lnTo>
                  <a:cubicBezTo>
                    <a:pt x="1471327" y="244497"/>
                    <a:pt x="1441228" y="253450"/>
                    <a:pt x="1411224" y="260880"/>
                  </a:cubicBezTo>
                  <a:cubicBezTo>
                    <a:pt x="1291209" y="293074"/>
                    <a:pt x="1170813" y="318982"/>
                    <a:pt x="1050893" y="338032"/>
                  </a:cubicBezTo>
                  <a:cubicBezTo>
                    <a:pt x="990790" y="347557"/>
                    <a:pt x="931069" y="354796"/>
                    <a:pt x="871252" y="360511"/>
                  </a:cubicBezTo>
                  <a:cubicBezTo>
                    <a:pt x="841438" y="362702"/>
                    <a:pt x="811530" y="365559"/>
                    <a:pt x="781812" y="366512"/>
                  </a:cubicBezTo>
                  <a:cubicBezTo>
                    <a:pt x="751904" y="368512"/>
                    <a:pt x="722376" y="368893"/>
                    <a:pt x="692563" y="369655"/>
                  </a:cubicBezTo>
                  <a:cubicBezTo>
                    <a:pt x="633222" y="370036"/>
                    <a:pt x="574167" y="368131"/>
                    <a:pt x="515017" y="363940"/>
                  </a:cubicBezTo>
                  <a:cubicBezTo>
                    <a:pt x="455867" y="359749"/>
                    <a:pt x="397097" y="351748"/>
                    <a:pt x="337661" y="341937"/>
                  </a:cubicBezTo>
                  <a:cubicBezTo>
                    <a:pt x="278225" y="331936"/>
                    <a:pt x="218599" y="318696"/>
                    <a:pt x="156972" y="303456"/>
                  </a:cubicBezTo>
                  <a:cubicBezTo>
                    <a:pt x="106680" y="290883"/>
                    <a:pt x="55150" y="276405"/>
                    <a:pt x="0" y="261642"/>
                  </a:cubicBezTo>
                  <a:lnTo>
                    <a:pt x="0" y="713412"/>
                  </a:lnTo>
                  <a:cubicBezTo>
                    <a:pt x="3048" y="714841"/>
                    <a:pt x="6096" y="716270"/>
                    <a:pt x="9144" y="717699"/>
                  </a:cubicBezTo>
                  <a:cubicBezTo>
                    <a:pt x="74295" y="747798"/>
                    <a:pt x="142875" y="775896"/>
                    <a:pt x="213360" y="801042"/>
                  </a:cubicBezTo>
                  <a:cubicBezTo>
                    <a:pt x="354521" y="851715"/>
                    <a:pt x="503873" y="887244"/>
                    <a:pt x="653510" y="908199"/>
                  </a:cubicBezTo>
                  <a:cubicBezTo>
                    <a:pt x="803338" y="928773"/>
                    <a:pt x="953929" y="935631"/>
                    <a:pt x="1101947" y="930773"/>
                  </a:cubicBezTo>
                  <a:cubicBezTo>
                    <a:pt x="1250252" y="926582"/>
                    <a:pt x="1396365" y="911437"/>
                    <a:pt x="1540002" y="889434"/>
                  </a:cubicBezTo>
                  <a:cubicBezTo>
                    <a:pt x="1576197" y="884386"/>
                    <a:pt x="1611535" y="877433"/>
                    <a:pt x="1647158" y="871242"/>
                  </a:cubicBezTo>
                  <a:lnTo>
                    <a:pt x="1698117" y="862193"/>
                  </a:lnTo>
                  <a:lnTo>
                    <a:pt x="1742789" y="854668"/>
                  </a:lnTo>
                  <a:cubicBezTo>
                    <a:pt x="1804035" y="845048"/>
                    <a:pt x="1867472" y="835428"/>
                    <a:pt x="1931003" y="826950"/>
                  </a:cubicBezTo>
                  <a:cubicBezTo>
                    <a:pt x="2058353" y="810282"/>
                    <a:pt x="2186750" y="795327"/>
                    <a:pt x="2314861" y="783897"/>
                  </a:cubicBezTo>
                  <a:cubicBezTo>
                    <a:pt x="2378964" y="778087"/>
                    <a:pt x="2442972" y="772467"/>
                    <a:pt x="2506885" y="768086"/>
                  </a:cubicBezTo>
                  <a:cubicBezTo>
                    <a:pt x="2538794" y="765990"/>
                    <a:pt x="2570798" y="763800"/>
                    <a:pt x="2602611" y="762085"/>
                  </a:cubicBezTo>
                  <a:cubicBezTo>
                    <a:pt x="2634520" y="760180"/>
                    <a:pt x="2666333" y="758370"/>
                    <a:pt x="2698052" y="756846"/>
                  </a:cubicBezTo>
                  <a:cubicBezTo>
                    <a:pt x="2761583" y="753894"/>
                    <a:pt x="2825020" y="751703"/>
                    <a:pt x="2887980" y="750846"/>
                  </a:cubicBezTo>
                  <a:cubicBezTo>
                    <a:pt x="2951036" y="749417"/>
                    <a:pt x="3013615" y="749322"/>
                    <a:pt x="3075813" y="750179"/>
                  </a:cubicBezTo>
                  <a:cubicBezTo>
                    <a:pt x="3106865" y="750846"/>
                    <a:pt x="3137916" y="751417"/>
                    <a:pt x="3168587" y="752751"/>
                  </a:cubicBezTo>
                  <a:cubicBezTo>
                    <a:pt x="3199448" y="753703"/>
                    <a:pt x="3229928" y="755227"/>
                    <a:pt x="3260408" y="756656"/>
                  </a:cubicBezTo>
                  <a:cubicBezTo>
                    <a:pt x="3320987" y="760466"/>
                    <a:pt x="3381470" y="764562"/>
                    <a:pt x="3440049" y="771610"/>
                  </a:cubicBezTo>
                  <a:cubicBezTo>
                    <a:pt x="3454908" y="773039"/>
                    <a:pt x="3469386" y="775039"/>
                    <a:pt x="3483864" y="776849"/>
                  </a:cubicBezTo>
                  <a:lnTo>
                    <a:pt x="3528536" y="782469"/>
                  </a:lnTo>
                  <a:lnTo>
                    <a:pt x="3628549" y="796089"/>
                  </a:lnTo>
                  <a:lnTo>
                    <a:pt x="3828574" y="823140"/>
                  </a:lnTo>
                  <a:cubicBezTo>
                    <a:pt x="3962019" y="840190"/>
                    <a:pt x="4095750" y="858573"/>
                    <a:pt x="4231196" y="874099"/>
                  </a:cubicBezTo>
                  <a:lnTo>
                    <a:pt x="4433126" y="897435"/>
                  </a:lnTo>
                  <a:lnTo>
                    <a:pt x="4485990" y="903246"/>
                  </a:lnTo>
                  <a:cubicBezTo>
                    <a:pt x="4503897" y="905151"/>
                    <a:pt x="4521708" y="907341"/>
                    <a:pt x="4539806" y="908961"/>
                  </a:cubicBezTo>
                  <a:lnTo>
                    <a:pt x="4593908" y="914199"/>
                  </a:lnTo>
                  <a:lnTo>
                    <a:pt x="4648296" y="918771"/>
                  </a:lnTo>
                  <a:cubicBezTo>
                    <a:pt x="4793456" y="930392"/>
                    <a:pt x="4942237" y="935631"/>
                    <a:pt x="5092446" y="931154"/>
                  </a:cubicBezTo>
                  <a:cubicBezTo>
                    <a:pt x="5242274" y="927249"/>
                    <a:pt x="5393627" y="911437"/>
                    <a:pt x="5533168" y="891816"/>
                  </a:cubicBezTo>
                  <a:cubicBezTo>
                    <a:pt x="5673471" y="872289"/>
                    <a:pt x="5798820" y="851906"/>
                    <a:pt x="5918169" y="840666"/>
                  </a:cubicBezTo>
                  <a:cubicBezTo>
                    <a:pt x="5948077" y="837809"/>
                    <a:pt x="5977795" y="835237"/>
                    <a:pt x="6007323" y="833237"/>
                  </a:cubicBezTo>
                  <a:cubicBezTo>
                    <a:pt x="6022086" y="832094"/>
                    <a:pt x="6036945" y="831332"/>
                    <a:pt x="6051709" y="830570"/>
                  </a:cubicBezTo>
                  <a:lnTo>
                    <a:pt x="6097429" y="828379"/>
                  </a:lnTo>
                  <a:cubicBezTo>
                    <a:pt x="6158960" y="825236"/>
                    <a:pt x="6223445" y="823807"/>
                    <a:pt x="6287834" y="822569"/>
                  </a:cubicBezTo>
                  <a:cubicBezTo>
                    <a:pt x="6417374" y="820664"/>
                    <a:pt x="6549485" y="820188"/>
                    <a:pt x="6681597" y="821235"/>
                  </a:cubicBezTo>
                  <a:cubicBezTo>
                    <a:pt x="6813899" y="822378"/>
                    <a:pt x="6946773" y="823617"/>
                    <a:pt x="7079647" y="826569"/>
                  </a:cubicBezTo>
                  <a:cubicBezTo>
                    <a:pt x="7212520" y="828951"/>
                    <a:pt x="7345585" y="831903"/>
                    <a:pt x="7478173" y="836094"/>
                  </a:cubicBezTo>
                  <a:cubicBezTo>
                    <a:pt x="7610475" y="839714"/>
                    <a:pt x="7743539" y="844953"/>
                    <a:pt x="7871937" y="851430"/>
                  </a:cubicBezTo>
                  <a:lnTo>
                    <a:pt x="7919657" y="854097"/>
                  </a:lnTo>
                  <a:cubicBezTo>
                    <a:pt x="7935564" y="854954"/>
                    <a:pt x="7949756" y="856192"/>
                    <a:pt x="7964901" y="857240"/>
                  </a:cubicBezTo>
                  <a:lnTo>
                    <a:pt x="8015955" y="861050"/>
                  </a:lnTo>
                  <a:cubicBezTo>
                    <a:pt x="8035195" y="862383"/>
                    <a:pt x="8053769" y="863622"/>
                    <a:pt x="8072247" y="864384"/>
                  </a:cubicBezTo>
                  <a:cubicBezTo>
                    <a:pt x="8145780" y="867527"/>
                    <a:pt x="8216456" y="868479"/>
                    <a:pt x="8286750" y="868384"/>
                  </a:cubicBezTo>
                  <a:cubicBezTo>
                    <a:pt x="8427148" y="867527"/>
                    <a:pt x="8565452" y="862574"/>
                    <a:pt x="8704040" y="853716"/>
                  </a:cubicBezTo>
                  <a:cubicBezTo>
                    <a:pt x="8842534" y="844762"/>
                    <a:pt x="8980741" y="832284"/>
                    <a:pt x="9120188" y="814092"/>
                  </a:cubicBezTo>
                  <a:cubicBezTo>
                    <a:pt x="9140761" y="811425"/>
                    <a:pt x="9161336" y="808567"/>
                    <a:pt x="9181909" y="805519"/>
                  </a:cubicBezTo>
                  <a:lnTo>
                    <a:pt x="9181909" y="39642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18" name="Freeform: Shape 21517">
              <a:extLst>
                <a:ext uri="{FF2B5EF4-FFF2-40B4-BE49-F238E27FC236}">
                  <a16:creationId xmlns:a16="http://schemas.microsoft.com/office/drawing/2014/main" id="{2587D38B-9E07-4A8B-B285-5FEBF6A60D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580789"/>
              <a:ext cx="9182100" cy="544245"/>
            </a:xfrm>
            <a:custGeom>
              <a:avLst/>
              <a:gdLst>
                <a:gd name="connsiteX0" fmla="*/ 9182100 w 9182100"/>
                <a:gd name="connsiteY0" fmla="*/ 154189 h 544245"/>
                <a:gd name="connsiteX1" fmla="*/ 9047702 w 9182100"/>
                <a:gd name="connsiteY1" fmla="*/ 162762 h 544245"/>
                <a:gd name="connsiteX2" fmla="*/ 8652224 w 9182100"/>
                <a:gd name="connsiteY2" fmla="*/ 178287 h 544245"/>
                <a:gd name="connsiteX3" fmla="*/ 8255603 w 9182100"/>
                <a:gd name="connsiteY3" fmla="*/ 161047 h 544245"/>
                <a:gd name="connsiteX4" fmla="*/ 8060722 w 9182100"/>
                <a:gd name="connsiteY4" fmla="*/ 140854 h 544245"/>
                <a:gd name="connsiteX5" fmla="*/ 8013478 w 9182100"/>
                <a:gd name="connsiteY5" fmla="*/ 134187 h 544245"/>
                <a:gd name="connsiteX6" fmla="*/ 7990428 w 9182100"/>
                <a:gd name="connsiteY6" fmla="*/ 130567 h 544245"/>
                <a:gd name="connsiteX7" fmla="*/ 7964139 w 9182100"/>
                <a:gd name="connsiteY7" fmla="*/ 126853 h 544245"/>
                <a:gd name="connsiteX8" fmla="*/ 7911656 w 9182100"/>
                <a:gd name="connsiteY8" fmla="*/ 119518 h 544245"/>
                <a:gd name="connsiteX9" fmla="*/ 7860220 w 9182100"/>
                <a:gd name="connsiteY9" fmla="*/ 113232 h 544245"/>
                <a:gd name="connsiteX10" fmla="*/ 7453884 w 9182100"/>
                <a:gd name="connsiteY10" fmla="*/ 70369 h 544245"/>
                <a:gd name="connsiteX11" fmla="*/ 7048976 w 9182100"/>
                <a:gd name="connsiteY11" fmla="*/ 36556 h 544245"/>
                <a:gd name="connsiteX12" fmla="*/ 6846285 w 9182100"/>
                <a:gd name="connsiteY12" fmla="*/ 22649 h 544245"/>
                <a:gd name="connsiteX13" fmla="*/ 6643212 w 9182100"/>
                <a:gd name="connsiteY13" fmla="*/ 11600 h 544245"/>
                <a:gd name="connsiteX14" fmla="*/ 6541485 w 9182100"/>
                <a:gd name="connsiteY14" fmla="*/ 7314 h 544245"/>
                <a:gd name="connsiteX15" fmla="*/ 6439567 w 9182100"/>
                <a:gd name="connsiteY15" fmla="*/ 3885 h 544245"/>
                <a:gd name="connsiteX16" fmla="*/ 6337459 w 9182100"/>
                <a:gd name="connsiteY16" fmla="*/ 1313 h 544245"/>
                <a:gd name="connsiteX17" fmla="*/ 6234970 w 9182100"/>
                <a:gd name="connsiteY17" fmla="*/ 75 h 544245"/>
                <a:gd name="connsiteX18" fmla="*/ 6027802 w 9182100"/>
                <a:gd name="connsiteY18" fmla="*/ 2265 h 544245"/>
                <a:gd name="connsiteX19" fmla="*/ 5921978 w 9182100"/>
                <a:gd name="connsiteY19" fmla="*/ 6552 h 544245"/>
                <a:gd name="connsiteX20" fmla="*/ 5815965 w 9182100"/>
                <a:gd name="connsiteY20" fmla="*/ 14362 h 544245"/>
                <a:gd name="connsiteX21" fmla="*/ 5408390 w 9182100"/>
                <a:gd name="connsiteY21" fmla="*/ 67036 h 544245"/>
                <a:gd name="connsiteX22" fmla="*/ 5023866 w 9182100"/>
                <a:gd name="connsiteY22" fmla="*/ 103992 h 544245"/>
                <a:gd name="connsiteX23" fmla="*/ 4831556 w 9182100"/>
                <a:gd name="connsiteY23" fmla="*/ 106374 h 544245"/>
                <a:gd name="connsiteX24" fmla="*/ 4637723 w 9182100"/>
                <a:gd name="connsiteY24" fmla="*/ 98754 h 544245"/>
                <a:gd name="connsiteX25" fmla="*/ 4442460 w 9182100"/>
                <a:gd name="connsiteY25" fmla="*/ 83038 h 544245"/>
                <a:gd name="connsiteX26" fmla="*/ 4341686 w 9182100"/>
                <a:gd name="connsiteY26" fmla="*/ 77227 h 544245"/>
                <a:gd name="connsiteX27" fmla="*/ 4241006 w 9182100"/>
                <a:gd name="connsiteY27" fmla="*/ 71989 h 544245"/>
                <a:gd name="connsiteX28" fmla="*/ 3836956 w 9182100"/>
                <a:gd name="connsiteY28" fmla="*/ 54177 h 544245"/>
                <a:gd name="connsiteX29" fmla="*/ 3634549 w 9182100"/>
                <a:gd name="connsiteY29" fmla="*/ 45414 h 544245"/>
                <a:gd name="connsiteX30" fmla="*/ 3533394 w 9182100"/>
                <a:gd name="connsiteY30" fmla="*/ 40461 h 544245"/>
                <a:gd name="connsiteX31" fmla="*/ 3481959 w 9182100"/>
                <a:gd name="connsiteY31" fmla="*/ 37889 h 544245"/>
                <a:gd name="connsiteX32" fmla="*/ 3430238 w 9182100"/>
                <a:gd name="connsiteY32" fmla="*/ 35889 h 544245"/>
                <a:gd name="connsiteX33" fmla="*/ 3020473 w 9182100"/>
                <a:gd name="connsiteY33" fmla="*/ 37603 h 544245"/>
                <a:gd name="connsiteX34" fmla="*/ 2614422 w 9182100"/>
                <a:gd name="connsiteY34" fmla="*/ 56844 h 544245"/>
                <a:gd name="connsiteX35" fmla="*/ 2208657 w 9182100"/>
                <a:gd name="connsiteY35" fmla="*/ 81609 h 544245"/>
                <a:gd name="connsiteX36" fmla="*/ 1800606 w 9182100"/>
                <a:gd name="connsiteY36" fmla="*/ 107612 h 544245"/>
                <a:gd name="connsiteX37" fmla="*/ 1594676 w 9182100"/>
                <a:gd name="connsiteY37" fmla="*/ 124948 h 544245"/>
                <a:gd name="connsiteX38" fmla="*/ 1491996 w 9182100"/>
                <a:gd name="connsiteY38" fmla="*/ 136568 h 544245"/>
                <a:gd name="connsiteX39" fmla="*/ 1442942 w 9182100"/>
                <a:gd name="connsiteY39" fmla="*/ 141902 h 544245"/>
                <a:gd name="connsiteX40" fmla="*/ 1418463 w 9182100"/>
                <a:gd name="connsiteY40" fmla="*/ 144664 h 544245"/>
                <a:gd name="connsiteX41" fmla="*/ 1393984 w 9182100"/>
                <a:gd name="connsiteY41" fmla="*/ 146855 h 544245"/>
                <a:gd name="connsiteX42" fmla="*/ 1006697 w 9182100"/>
                <a:gd name="connsiteY42" fmla="*/ 169810 h 544245"/>
                <a:gd name="connsiteX43" fmla="*/ 816864 w 9182100"/>
                <a:gd name="connsiteY43" fmla="*/ 170953 h 544245"/>
                <a:gd name="connsiteX44" fmla="*/ 769906 w 9182100"/>
                <a:gd name="connsiteY44" fmla="*/ 169715 h 544245"/>
                <a:gd name="connsiteX45" fmla="*/ 723043 w 9182100"/>
                <a:gd name="connsiteY45" fmla="*/ 168096 h 544245"/>
                <a:gd name="connsiteX46" fmla="*/ 676370 w 9182100"/>
                <a:gd name="connsiteY46" fmla="*/ 166286 h 544245"/>
                <a:gd name="connsiteX47" fmla="*/ 629888 w 9182100"/>
                <a:gd name="connsiteY47" fmla="*/ 163333 h 544245"/>
                <a:gd name="connsiteX48" fmla="*/ 445484 w 9182100"/>
                <a:gd name="connsiteY48" fmla="*/ 146093 h 544245"/>
                <a:gd name="connsiteX49" fmla="*/ 263366 w 9182100"/>
                <a:gd name="connsiteY49" fmla="*/ 115232 h 544245"/>
                <a:gd name="connsiteX50" fmla="*/ 81439 w 9182100"/>
                <a:gd name="connsiteY50" fmla="*/ 70369 h 544245"/>
                <a:gd name="connsiteX51" fmla="*/ 35338 w 9182100"/>
                <a:gd name="connsiteY51" fmla="*/ 57034 h 544245"/>
                <a:gd name="connsiteX52" fmla="*/ 0 w 9182100"/>
                <a:gd name="connsiteY52" fmla="*/ 46652 h 544245"/>
                <a:gd name="connsiteX53" fmla="*/ 0 w 9182100"/>
                <a:gd name="connsiteY53" fmla="*/ 426795 h 544245"/>
                <a:gd name="connsiteX54" fmla="*/ 178594 w 9182100"/>
                <a:gd name="connsiteY54" fmla="*/ 479658 h 544245"/>
                <a:gd name="connsiteX55" fmla="*/ 610457 w 9182100"/>
                <a:gd name="connsiteY55" fmla="*/ 542619 h 544245"/>
                <a:gd name="connsiteX56" fmla="*/ 826865 w 9182100"/>
                <a:gd name="connsiteY56" fmla="*/ 539666 h 544245"/>
                <a:gd name="connsiteX57" fmla="*/ 1039654 w 9182100"/>
                <a:gd name="connsiteY57" fmla="*/ 515187 h 544245"/>
                <a:gd name="connsiteX58" fmla="*/ 1449705 w 9182100"/>
                <a:gd name="connsiteY58" fmla="*/ 415270 h 544245"/>
                <a:gd name="connsiteX59" fmla="*/ 1548765 w 9182100"/>
                <a:gd name="connsiteY59" fmla="*/ 382123 h 544245"/>
                <a:gd name="connsiteX60" fmla="*/ 1642872 w 9182100"/>
                <a:gd name="connsiteY60" fmla="*/ 349261 h 544245"/>
                <a:gd name="connsiteX61" fmla="*/ 1832991 w 9182100"/>
                <a:gd name="connsiteY61" fmla="*/ 289158 h 544245"/>
                <a:gd name="connsiteX62" fmla="*/ 2222754 w 9182100"/>
                <a:gd name="connsiteY62" fmla="*/ 193623 h 544245"/>
                <a:gd name="connsiteX63" fmla="*/ 2620137 w 9182100"/>
                <a:gd name="connsiteY63" fmla="*/ 138378 h 544245"/>
                <a:gd name="connsiteX64" fmla="*/ 3020473 w 9182100"/>
                <a:gd name="connsiteY64" fmla="*/ 127234 h 544245"/>
                <a:gd name="connsiteX65" fmla="*/ 3219736 w 9182100"/>
                <a:gd name="connsiteY65" fmla="*/ 139807 h 544245"/>
                <a:gd name="connsiteX66" fmla="*/ 3318605 w 9182100"/>
                <a:gd name="connsiteY66" fmla="*/ 151713 h 544245"/>
                <a:gd name="connsiteX67" fmla="*/ 3367754 w 9182100"/>
                <a:gd name="connsiteY67" fmla="*/ 158666 h 544245"/>
                <a:gd name="connsiteX68" fmla="*/ 3416618 w 9182100"/>
                <a:gd name="connsiteY68" fmla="*/ 166858 h 544245"/>
                <a:gd name="connsiteX69" fmla="*/ 3465195 w 9182100"/>
                <a:gd name="connsiteY69" fmla="*/ 176097 h 544245"/>
                <a:gd name="connsiteX70" fmla="*/ 3513868 w 9182100"/>
                <a:gd name="connsiteY70" fmla="*/ 185908 h 544245"/>
                <a:gd name="connsiteX71" fmla="*/ 3612737 w 9182100"/>
                <a:gd name="connsiteY71" fmla="*/ 207625 h 544245"/>
                <a:gd name="connsiteX72" fmla="*/ 3810381 w 9182100"/>
                <a:gd name="connsiteY72" fmla="*/ 252106 h 544245"/>
                <a:gd name="connsiteX73" fmla="*/ 4206621 w 9182100"/>
                <a:gd name="connsiteY73" fmla="*/ 339736 h 544245"/>
                <a:gd name="connsiteX74" fmla="*/ 4306062 w 9182100"/>
                <a:gd name="connsiteY74" fmla="*/ 359834 h 544245"/>
                <a:gd name="connsiteX75" fmla="*/ 4405503 w 9182100"/>
                <a:gd name="connsiteY75" fmla="*/ 378979 h 544245"/>
                <a:gd name="connsiteX76" fmla="*/ 4611529 w 9182100"/>
                <a:gd name="connsiteY76" fmla="*/ 405745 h 544245"/>
                <a:gd name="connsiteX77" fmla="*/ 5031677 w 9182100"/>
                <a:gd name="connsiteY77" fmla="*/ 427462 h 544245"/>
                <a:gd name="connsiteX78" fmla="*/ 5243227 w 9182100"/>
                <a:gd name="connsiteY78" fmla="*/ 418699 h 544245"/>
                <a:gd name="connsiteX79" fmla="*/ 5451062 w 9182100"/>
                <a:gd name="connsiteY79" fmla="*/ 398029 h 544245"/>
                <a:gd name="connsiteX80" fmla="*/ 5844635 w 9182100"/>
                <a:gd name="connsiteY80" fmla="*/ 353071 h 544245"/>
                <a:gd name="connsiteX81" fmla="*/ 5939981 w 9182100"/>
                <a:gd name="connsiteY81" fmla="*/ 346975 h 544245"/>
                <a:gd name="connsiteX82" fmla="*/ 6035898 w 9182100"/>
                <a:gd name="connsiteY82" fmla="*/ 344118 h 544245"/>
                <a:gd name="connsiteX83" fmla="*/ 6232303 w 9182100"/>
                <a:gd name="connsiteY83" fmla="*/ 343642 h 544245"/>
                <a:gd name="connsiteX84" fmla="*/ 6630924 w 9182100"/>
                <a:gd name="connsiteY84" fmla="*/ 351071 h 544245"/>
                <a:gd name="connsiteX85" fmla="*/ 6831140 w 9182100"/>
                <a:gd name="connsiteY85" fmla="*/ 356596 h 544245"/>
                <a:gd name="connsiteX86" fmla="*/ 7031545 w 9182100"/>
                <a:gd name="connsiteY86" fmla="*/ 362501 h 544245"/>
                <a:gd name="connsiteX87" fmla="*/ 7432262 w 9182100"/>
                <a:gd name="connsiteY87" fmla="*/ 378408 h 544245"/>
                <a:gd name="connsiteX88" fmla="*/ 7830312 w 9182100"/>
                <a:gd name="connsiteY88" fmla="*/ 402506 h 544245"/>
                <a:gd name="connsiteX89" fmla="*/ 7879270 w 9182100"/>
                <a:gd name="connsiteY89" fmla="*/ 406792 h 544245"/>
                <a:gd name="connsiteX90" fmla="*/ 7926895 w 9182100"/>
                <a:gd name="connsiteY90" fmla="*/ 411745 h 544245"/>
                <a:gd name="connsiteX91" fmla="*/ 7977569 w 9182100"/>
                <a:gd name="connsiteY91" fmla="*/ 417175 h 544245"/>
                <a:gd name="connsiteX92" fmla="*/ 8030623 w 9182100"/>
                <a:gd name="connsiteY92" fmla="*/ 422127 h 544245"/>
                <a:gd name="connsiteX93" fmla="*/ 8237982 w 9182100"/>
                <a:gd name="connsiteY93" fmla="*/ 435177 h 544245"/>
                <a:gd name="connsiteX94" fmla="*/ 8647748 w 9182100"/>
                <a:gd name="connsiteY94" fmla="*/ 449464 h 544245"/>
                <a:gd name="connsiteX95" fmla="*/ 8852821 w 9182100"/>
                <a:gd name="connsiteY95" fmla="*/ 456132 h 544245"/>
                <a:gd name="connsiteX96" fmla="*/ 8955786 w 9182100"/>
                <a:gd name="connsiteY96" fmla="*/ 458132 h 544245"/>
                <a:gd name="connsiteX97" fmla="*/ 9059227 w 9182100"/>
                <a:gd name="connsiteY97" fmla="*/ 457751 h 544245"/>
                <a:gd name="connsiteX98" fmla="*/ 9182005 w 9182100"/>
                <a:gd name="connsiteY98" fmla="*/ 452512 h 544245"/>
                <a:gd name="connsiteX99" fmla="*/ 9182005 w 9182100"/>
                <a:gd name="connsiteY99" fmla="*/ 154189 h 54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9182100" h="544245">
                  <a:moveTo>
                    <a:pt x="9182100" y="154189"/>
                  </a:moveTo>
                  <a:cubicBezTo>
                    <a:pt x="9137618" y="157142"/>
                    <a:pt x="9092851" y="159904"/>
                    <a:pt x="9047702" y="162762"/>
                  </a:cubicBezTo>
                  <a:cubicBezTo>
                    <a:pt x="8917114" y="170668"/>
                    <a:pt x="8784717" y="178002"/>
                    <a:pt x="8652224" y="178287"/>
                  </a:cubicBezTo>
                  <a:cubicBezTo>
                    <a:pt x="8519732" y="178764"/>
                    <a:pt x="8387049" y="171239"/>
                    <a:pt x="8255603" y="161047"/>
                  </a:cubicBezTo>
                  <a:cubicBezTo>
                    <a:pt x="8189881" y="155904"/>
                    <a:pt x="8124539" y="149236"/>
                    <a:pt x="8060722" y="140854"/>
                  </a:cubicBezTo>
                  <a:cubicBezTo>
                    <a:pt x="8044815" y="138759"/>
                    <a:pt x="8029099" y="136473"/>
                    <a:pt x="8013478" y="134187"/>
                  </a:cubicBezTo>
                  <a:lnTo>
                    <a:pt x="7990428" y="130567"/>
                  </a:lnTo>
                  <a:lnTo>
                    <a:pt x="7964139" y="126853"/>
                  </a:lnTo>
                  <a:cubicBezTo>
                    <a:pt x="7946708" y="124376"/>
                    <a:pt x="7928896" y="121709"/>
                    <a:pt x="7911656" y="119518"/>
                  </a:cubicBezTo>
                  <a:lnTo>
                    <a:pt x="7860220" y="113232"/>
                  </a:lnTo>
                  <a:cubicBezTo>
                    <a:pt x="7723728" y="96277"/>
                    <a:pt x="7589044" y="83038"/>
                    <a:pt x="7453884" y="70369"/>
                  </a:cubicBezTo>
                  <a:cubicBezTo>
                    <a:pt x="7318915" y="57701"/>
                    <a:pt x="7184041" y="46366"/>
                    <a:pt x="7048976" y="36556"/>
                  </a:cubicBezTo>
                  <a:cubicBezTo>
                    <a:pt x="6981444" y="31793"/>
                    <a:pt x="6913912" y="26840"/>
                    <a:pt x="6846285" y="22649"/>
                  </a:cubicBezTo>
                  <a:cubicBezTo>
                    <a:pt x="6778657" y="18553"/>
                    <a:pt x="6710934" y="14934"/>
                    <a:pt x="6643212" y="11600"/>
                  </a:cubicBezTo>
                  <a:lnTo>
                    <a:pt x="6541485" y="7314"/>
                  </a:lnTo>
                  <a:cubicBezTo>
                    <a:pt x="6507576" y="5790"/>
                    <a:pt x="6473667" y="4647"/>
                    <a:pt x="6439567" y="3885"/>
                  </a:cubicBezTo>
                  <a:lnTo>
                    <a:pt x="6337459" y="1313"/>
                  </a:lnTo>
                  <a:lnTo>
                    <a:pt x="6234970" y="75"/>
                  </a:lnTo>
                  <a:cubicBezTo>
                    <a:pt x="6166295" y="-116"/>
                    <a:pt x="6097715" y="-116"/>
                    <a:pt x="6027802" y="2265"/>
                  </a:cubicBezTo>
                  <a:cubicBezTo>
                    <a:pt x="5993320" y="3123"/>
                    <a:pt x="5957412" y="4456"/>
                    <a:pt x="5921978" y="6552"/>
                  </a:cubicBezTo>
                  <a:cubicBezTo>
                    <a:pt x="5886546" y="8552"/>
                    <a:pt x="5851112" y="11124"/>
                    <a:pt x="5815965" y="14362"/>
                  </a:cubicBezTo>
                  <a:cubicBezTo>
                    <a:pt x="5674995" y="27126"/>
                    <a:pt x="5538597" y="48938"/>
                    <a:pt x="5408390" y="67036"/>
                  </a:cubicBezTo>
                  <a:cubicBezTo>
                    <a:pt x="5277993" y="85514"/>
                    <a:pt x="5151692" y="99039"/>
                    <a:pt x="5023866" y="103992"/>
                  </a:cubicBezTo>
                  <a:cubicBezTo>
                    <a:pt x="4960049" y="106660"/>
                    <a:pt x="4895946" y="107231"/>
                    <a:pt x="4831556" y="106374"/>
                  </a:cubicBezTo>
                  <a:cubicBezTo>
                    <a:pt x="4767167" y="105231"/>
                    <a:pt x="4702588" y="102468"/>
                    <a:pt x="4637723" y="98754"/>
                  </a:cubicBezTo>
                  <a:cubicBezTo>
                    <a:pt x="4572762" y="95230"/>
                    <a:pt x="4507992" y="88848"/>
                    <a:pt x="4442460" y="83038"/>
                  </a:cubicBezTo>
                  <a:cubicBezTo>
                    <a:pt x="4408837" y="80752"/>
                    <a:pt x="4375214" y="79228"/>
                    <a:pt x="4341686" y="77227"/>
                  </a:cubicBezTo>
                  <a:cubicBezTo>
                    <a:pt x="4308158" y="75227"/>
                    <a:pt x="4274534" y="73417"/>
                    <a:pt x="4241006" y="71989"/>
                  </a:cubicBezTo>
                  <a:cubicBezTo>
                    <a:pt x="4106895" y="65131"/>
                    <a:pt x="3971925" y="59797"/>
                    <a:pt x="3836956" y="54177"/>
                  </a:cubicBezTo>
                  <a:lnTo>
                    <a:pt x="3634549" y="45414"/>
                  </a:lnTo>
                  <a:lnTo>
                    <a:pt x="3533394" y="40461"/>
                  </a:lnTo>
                  <a:lnTo>
                    <a:pt x="3481959" y="37889"/>
                  </a:lnTo>
                  <a:cubicBezTo>
                    <a:pt x="3464719" y="37127"/>
                    <a:pt x="3447479" y="36079"/>
                    <a:pt x="3430238" y="35889"/>
                  </a:cubicBezTo>
                  <a:cubicBezTo>
                    <a:pt x="3292602" y="31126"/>
                    <a:pt x="3156299" y="33603"/>
                    <a:pt x="3020473" y="37603"/>
                  </a:cubicBezTo>
                  <a:cubicBezTo>
                    <a:pt x="2884741" y="41985"/>
                    <a:pt x="2749487" y="48843"/>
                    <a:pt x="2614422" y="56844"/>
                  </a:cubicBezTo>
                  <a:lnTo>
                    <a:pt x="2208657" y="81609"/>
                  </a:lnTo>
                  <a:cubicBezTo>
                    <a:pt x="2073116" y="89991"/>
                    <a:pt x="1937195" y="97515"/>
                    <a:pt x="1800606" y="107612"/>
                  </a:cubicBezTo>
                  <a:cubicBezTo>
                    <a:pt x="1732217" y="112184"/>
                    <a:pt x="1663827" y="117804"/>
                    <a:pt x="1594676" y="124948"/>
                  </a:cubicBezTo>
                  <a:lnTo>
                    <a:pt x="1491996" y="136568"/>
                  </a:lnTo>
                  <a:lnTo>
                    <a:pt x="1442942" y="141902"/>
                  </a:lnTo>
                  <a:lnTo>
                    <a:pt x="1418463" y="144664"/>
                  </a:lnTo>
                  <a:lnTo>
                    <a:pt x="1393984" y="146855"/>
                  </a:lnTo>
                  <a:cubicBezTo>
                    <a:pt x="1263491" y="159142"/>
                    <a:pt x="1134142" y="166667"/>
                    <a:pt x="1006697" y="169810"/>
                  </a:cubicBezTo>
                  <a:cubicBezTo>
                    <a:pt x="942975" y="172001"/>
                    <a:pt x="879729" y="171239"/>
                    <a:pt x="816864" y="170953"/>
                  </a:cubicBezTo>
                  <a:lnTo>
                    <a:pt x="769906" y="169715"/>
                  </a:lnTo>
                  <a:cubicBezTo>
                    <a:pt x="754285" y="169525"/>
                    <a:pt x="738569" y="169048"/>
                    <a:pt x="723043" y="168096"/>
                  </a:cubicBezTo>
                  <a:lnTo>
                    <a:pt x="676370" y="166286"/>
                  </a:lnTo>
                  <a:cubicBezTo>
                    <a:pt x="660845" y="165238"/>
                    <a:pt x="645414" y="164095"/>
                    <a:pt x="629888" y="163333"/>
                  </a:cubicBezTo>
                  <a:cubicBezTo>
                    <a:pt x="568071" y="159047"/>
                    <a:pt x="506540" y="154094"/>
                    <a:pt x="445484" y="146093"/>
                  </a:cubicBezTo>
                  <a:cubicBezTo>
                    <a:pt x="384524" y="137997"/>
                    <a:pt x="323850" y="128091"/>
                    <a:pt x="263366" y="115232"/>
                  </a:cubicBezTo>
                  <a:cubicBezTo>
                    <a:pt x="202787" y="102850"/>
                    <a:pt x="142589" y="87419"/>
                    <a:pt x="81439" y="70369"/>
                  </a:cubicBezTo>
                  <a:cubicBezTo>
                    <a:pt x="66199" y="66178"/>
                    <a:pt x="50864" y="61702"/>
                    <a:pt x="35338" y="57034"/>
                  </a:cubicBezTo>
                  <a:lnTo>
                    <a:pt x="0" y="46652"/>
                  </a:lnTo>
                  <a:lnTo>
                    <a:pt x="0" y="426795"/>
                  </a:lnTo>
                  <a:cubicBezTo>
                    <a:pt x="58198" y="446416"/>
                    <a:pt x="117920" y="464323"/>
                    <a:pt x="178594" y="479658"/>
                  </a:cubicBezTo>
                  <a:cubicBezTo>
                    <a:pt x="319850" y="514901"/>
                    <a:pt x="465582" y="537094"/>
                    <a:pt x="610457" y="542619"/>
                  </a:cubicBezTo>
                  <a:cubicBezTo>
                    <a:pt x="682943" y="545953"/>
                    <a:pt x="755142" y="543762"/>
                    <a:pt x="826865" y="539666"/>
                  </a:cubicBezTo>
                  <a:cubicBezTo>
                    <a:pt x="898398" y="534523"/>
                    <a:pt x="969645" y="526903"/>
                    <a:pt x="1039654" y="515187"/>
                  </a:cubicBezTo>
                  <a:cubicBezTo>
                    <a:pt x="1180052" y="492517"/>
                    <a:pt x="1316736" y="457751"/>
                    <a:pt x="1449705" y="415270"/>
                  </a:cubicBezTo>
                  <a:cubicBezTo>
                    <a:pt x="1483138" y="405364"/>
                    <a:pt x="1515809" y="393172"/>
                    <a:pt x="1548765" y="382123"/>
                  </a:cubicBezTo>
                  <a:lnTo>
                    <a:pt x="1642872" y="349261"/>
                  </a:lnTo>
                  <a:cubicBezTo>
                    <a:pt x="1705261" y="328211"/>
                    <a:pt x="1768983" y="308208"/>
                    <a:pt x="1832991" y="289158"/>
                  </a:cubicBezTo>
                  <a:cubicBezTo>
                    <a:pt x="1961198" y="251821"/>
                    <a:pt x="2091404" y="219435"/>
                    <a:pt x="2222754" y="193623"/>
                  </a:cubicBezTo>
                  <a:cubicBezTo>
                    <a:pt x="2354199" y="168382"/>
                    <a:pt x="2486882" y="149332"/>
                    <a:pt x="2620137" y="138378"/>
                  </a:cubicBezTo>
                  <a:cubicBezTo>
                    <a:pt x="2753392" y="127424"/>
                    <a:pt x="2887123" y="122947"/>
                    <a:pt x="3020473" y="127234"/>
                  </a:cubicBezTo>
                  <a:cubicBezTo>
                    <a:pt x="3087148" y="129043"/>
                    <a:pt x="3153632" y="133711"/>
                    <a:pt x="3219736" y="139807"/>
                  </a:cubicBezTo>
                  <a:cubicBezTo>
                    <a:pt x="3252788" y="143426"/>
                    <a:pt x="3285839" y="146760"/>
                    <a:pt x="3318605" y="151713"/>
                  </a:cubicBezTo>
                  <a:lnTo>
                    <a:pt x="3367754" y="158666"/>
                  </a:lnTo>
                  <a:cubicBezTo>
                    <a:pt x="3384042" y="161238"/>
                    <a:pt x="3400330" y="164000"/>
                    <a:pt x="3416618" y="166858"/>
                  </a:cubicBezTo>
                  <a:cubicBezTo>
                    <a:pt x="3432905" y="169525"/>
                    <a:pt x="3449003" y="172954"/>
                    <a:pt x="3465195" y="176097"/>
                  </a:cubicBezTo>
                  <a:cubicBezTo>
                    <a:pt x="3481483" y="179431"/>
                    <a:pt x="3497199" y="182288"/>
                    <a:pt x="3513868" y="185908"/>
                  </a:cubicBezTo>
                  <a:lnTo>
                    <a:pt x="3612737" y="207625"/>
                  </a:lnTo>
                  <a:lnTo>
                    <a:pt x="3810381" y="252106"/>
                  </a:lnTo>
                  <a:cubicBezTo>
                    <a:pt x="3942112" y="282015"/>
                    <a:pt x="4073843" y="312590"/>
                    <a:pt x="4206621" y="339736"/>
                  </a:cubicBezTo>
                  <a:cubicBezTo>
                    <a:pt x="4239768" y="346785"/>
                    <a:pt x="4272915" y="353452"/>
                    <a:pt x="4306062" y="359834"/>
                  </a:cubicBezTo>
                  <a:cubicBezTo>
                    <a:pt x="4339209" y="366216"/>
                    <a:pt x="4372356" y="372979"/>
                    <a:pt x="4405503" y="378979"/>
                  </a:cubicBezTo>
                  <a:cubicBezTo>
                    <a:pt x="4473416" y="389266"/>
                    <a:pt x="4542378" y="398410"/>
                    <a:pt x="4611529" y="405745"/>
                  </a:cubicBezTo>
                  <a:cubicBezTo>
                    <a:pt x="4749832" y="420794"/>
                    <a:pt x="4890326" y="428795"/>
                    <a:pt x="5031677" y="427462"/>
                  </a:cubicBezTo>
                  <a:cubicBezTo>
                    <a:pt x="5102352" y="426985"/>
                    <a:pt x="5173028" y="423747"/>
                    <a:pt x="5243227" y="418699"/>
                  </a:cubicBezTo>
                  <a:cubicBezTo>
                    <a:pt x="5313427" y="413650"/>
                    <a:pt x="5382959" y="406030"/>
                    <a:pt x="5451062" y="398029"/>
                  </a:cubicBezTo>
                  <a:cubicBezTo>
                    <a:pt x="5587651" y="381551"/>
                    <a:pt x="5717381" y="362501"/>
                    <a:pt x="5844635" y="353071"/>
                  </a:cubicBezTo>
                  <a:cubicBezTo>
                    <a:pt x="5876544" y="350690"/>
                    <a:pt x="5908262" y="348404"/>
                    <a:pt x="5939981" y="346975"/>
                  </a:cubicBezTo>
                  <a:cubicBezTo>
                    <a:pt x="5971794" y="345356"/>
                    <a:pt x="6003036" y="344308"/>
                    <a:pt x="6035898" y="344118"/>
                  </a:cubicBezTo>
                  <a:cubicBezTo>
                    <a:pt x="6100477" y="343070"/>
                    <a:pt x="6166390" y="343356"/>
                    <a:pt x="6232303" y="343642"/>
                  </a:cubicBezTo>
                  <a:cubicBezTo>
                    <a:pt x="6364415" y="344880"/>
                    <a:pt x="6497669" y="347833"/>
                    <a:pt x="6630924" y="351071"/>
                  </a:cubicBezTo>
                  <a:lnTo>
                    <a:pt x="6831140" y="356596"/>
                  </a:lnTo>
                  <a:lnTo>
                    <a:pt x="7031545" y="362501"/>
                  </a:lnTo>
                  <a:cubicBezTo>
                    <a:pt x="7165086" y="367454"/>
                    <a:pt x="7298818" y="371835"/>
                    <a:pt x="7432262" y="378408"/>
                  </a:cubicBezTo>
                  <a:cubicBezTo>
                    <a:pt x="7565518" y="384790"/>
                    <a:pt x="7699153" y="392124"/>
                    <a:pt x="7830312" y="402506"/>
                  </a:cubicBezTo>
                  <a:lnTo>
                    <a:pt x="7879270" y="406792"/>
                  </a:lnTo>
                  <a:lnTo>
                    <a:pt x="7926895" y="411745"/>
                  </a:lnTo>
                  <a:lnTo>
                    <a:pt x="7977569" y="417175"/>
                  </a:lnTo>
                  <a:cubicBezTo>
                    <a:pt x="7995380" y="418984"/>
                    <a:pt x="8013097" y="420699"/>
                    <a:pt x="8030623" y="422127"/>
                  </a:cubicBezTo>
                  <a:cubicBezTo>
                    <a:pt x="8100632" y="427843"/>
                    <a:pt x="8169402" y="431748"/>
                    <a:pt x="8237982" y="435177"/>
                  </a:cubicBezTo>
                  <a:cubicBezTo>
                    <a:pt x="8375047" y="442035"/>
                    <a:pt x="8511254" y="444511"/>
                    <a:pt x="8647748" y="449464"/>
                  </a:cubicBezTo>
                  <a:cubicBezTo>
                    <a:pt x="8715946" y="451750"/>
                    <a:pt x="8784336" y="454513"/>
                    <a:pt x="8852821" y="456132"/>
                  </a:cubicBezTo>
                  <a:cubicBezTo>
                    <a:pt x="8887111" y="456989"/>
                    <a:pt x="8921401" y="457751"/>
                    <a:pt x="8955786" y="458132"/>
                  </a:cubicBezTo>
                  <a:cubicBezTo>
                    <a:pt x="8990171" y="458323"/>
                    <a:pt x="9024651" y="458227"/>
                    <a:pt x="9059227" y="457751"/>
                  </a:cubicBezTo>
                  <a:cubicBezTo>
                    <a:pt x="9099995" y="456989"/>
                    <a:pt x="9140857" y="455275"/>
                    <a:pt x="9182005" y="452512"/>
                  </a:cubicBezTo>
                  <a:lnTo>
                    <a:pt x="9182005" y="154189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519" name="Freeform: Shape 21518">
              <a:extLst>
                <a:ext uri="{FF2B5EF4-FFF2-40B4-BE49-F238E27FC236}">
                  <a16:creationId xmlns:a16="http://schemas.microsoft.com/office/drawing/2014/main" id="{5EF4DD4B-217B-4346-A2B8-4327936399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324550"/>
              <a:ext cx="9182100" cy="765639"/>
            </a:xfrm>
            <a:custGeom>
              <a:avLst/>
              <a:gdLst>
                <a:gd name="connsiteX0" fmla="*/ 9182100 w 9182100"/>
                <a:gd name="connsiteY0" fmla="*/ 351088 h 765639"/>
                <a:gd name="connsiteX1" fmla="*/ 9178480 w 9182100"/>
                <a:gd name="connsiteY1" fmla="*/ 350993 h 765639"/>
                <a:gd name="connsiteX2" fmla="*/ 8783955 w 9182100"/>
                <a:gd name="connsiteY2" fmla="*/ 327561 h 765639"/>
                <a:gd name="connsiteX3" fmla="*/ 8390763 w 9182100"/>
                <a:gd name="connsiteY3" fmla="*/ 288795 h 765639"/>
                <a:gd name="connsiteX4" fmla="*/ 8199502 w 9182100"/>
                <a:gd name="connsiteY4" fmla="*/ 262601 h 765639"/>
                <a:gd name="connsiteX5" fmla="*/ 8153972 w 9182100"/>
                <a:gd name="connsiteY5" fmla="*/ 254886 h 765639"/>
                <a:gd name="connsiteX6" fmla="*/ 8131588 w 9182100"/>
                <a:gd name="connsiteY6" fmla="*/ 250790 h 765639"/>
                <a:gd name="connsiteX7" fmla="*/ 8104632 w 9182100"/>
                <a:gd name="connsiteY7" fmla="*/ 246504 h 765639"/>
                <a:gd name="connsiteX8" fmla="*/ 8050911 w 9182100"/>
                <a:gd name="connsiteY8" fmla="*/ 238217 h 765639"/>
                <a:gd name="connsiteX9" fmla="*/ 7998810 w 9182100"/>
                <a:gd name="connsiteY9" fmla="*/ 230978 h 765639"/>
                <a:gd name="connsiteX10" fmla="*/ 7589902 w 9182100"/>
                <a:gd name="connsiteY10" fmla="*/ 183925 h 765639"/>
                <a:gd name="connsiteX11" fmla="*/ 7183469 w 9182100"/>
                <a:gd name="connsiteY11" fmla="*/ 147634 h 765639"/>
                <a:gd name="connsiteX12" fmla="*/ 6775990 w 9182100"/>
                <a:gd name="connsiteY12" fmla="*/ 119821 h 765639"/>
                <a:gd name="connsiteX13" fmla="*/ 6364795 w 9182100"/>
                <a:gd name="connsiteY13" fmla="*/ 102391 h 765639"/>
                <a:gd name="connsiteX14" fmla="*/ 6154293 w 9182100"/>
                <a:gd name="connsiteY14" fmla="*/ 100581 h 765639"/>
                <a:gd name="connsiteX15" fmla="*/ 6100287 w 9182100"/>
                <a:gd name="connsiteY15" fmla="*/ 101343 h 765639"/>
                <a:gd name="connsiteX16" fmla="*/ 6045327 w 9182100"/>
                <a:gd name="connsiteY16" fmla="*/ 103438 h 765639"/>
                <a:gd name="connsiteX17" fmla="*/ 5935980 w 9182100"/>
                <a:gd name="connsiteY17" fmla="*/ 110296 h 765639"/>
                <a:gd name="connsiteX18" fmla="*/ 5523357 w 9182100"/>
                <a:gd name="connsiteY18" fmla="*/ 157635 h 765639"/>
                <a:gd name="connsiteX19" fmla="*/ 5149882 w 9182100"/>
                <a:gd name="connsiteY19" fmla="*/ 185639 h 765639"/>
                <a:gd name="connsiteX20" fmla="*/ 4777073 w 9182100"/>
                <a:gd name="connsiteY20" fmla="*/ 170685 h 765639"/>
                <a:gd name="connsiteX21" fmla="*/ 4729925 w 9182100"/>
                <a:gd name="connsiteY21" fmla="*/ 166208 h 765639"/>
                <a:gd name="connsiteX22" fmla="*/ 4682585 w 9182100"/>
                <a:gd name="connsiteY22" fmla="*/ 161064 h 765639"/>
                <a:gd name="connsiteX23" fmla="*/ 4635151 w 9182100"/>
                <a:gd name="connsiteY23" fmla="*/ 155445 h 765639"/>
                <a:gd name="connsiteX24" fmla="*/ 4611434 w 9182100"/>
                <a:gd name="connsiteY24" fmla="*/ 152492 h 765639"/>
                <a:gd name="connsiteX25" fmla="*/ 4587145 w 9182100"/>
                <a:gd name="connsiteY25" fmla="*/ 149349 h 765639"/>
                <a:gd name="connsiteX26" fmla="*/ 4387977 w 9182100"/>
                <a:gd name="connsiteY26" fmla="*/ 122774 h 765639"/>
                <a:gd name="connsiteX27" fmla="*/ 3989356 w 9182100"/>
                <a:gd name="connsiteY27" fmla="*/ 68577 h 765639"/>
                <a:gd name="connsiteX28" fmla="*/ 3789140 w 9182100"/>
                <a:gd name="connsiteY28" fmla="*/ 42192 h 765639"/>
                <a:gd name="connsiteX29" fmla="*/ 3689033 w 9182100"/>
                <a:gd name="connsiteY29" fmla="*/ 29143 h 765639"/>
                <a:gd name="connsiteX30" fmla="*/ 3634835 w 9182100"/>
                <a:gd name="connsiteY30" fmla="*/ 22571 h 765639"/>
                <a:gd name="connsiteX31" fmla="*/ 3579876 w 9182100"/>
                <a:gd name="connsiteY31" fmla="*/ 16856 h 765639"/>
                <a:gd name="connsiteX32" fmla="*/ 3147441 w 9182100"/>
                <a:gd name="connsiteY32" fmla="*/ 473 h 765639"/>
                <a:gd name="connsiteX33" fmla="*/ 2724722 w 9182100"/>
                <a:gd name="connsiteY33" fmla="*/ 22857 h 765639"/>
                <a:gd name="connsiteX34" fmla="*/ 1898428 w 9182100"/>
                <a:gd name="connsiteY34" fmla="*/ 147730 h 765639"/>
                <a:gd name="connsiteX35" fmla="*/ 1692878 w 9182100"/>
                <a:gd name="connsiteY35" fmla="*/ 195069 h 765639"/>
                <a:gd name="connsiteX36" fmla="*/ 1640205 w 9182100"/>
                <a:gd name="connsiteY36" fmla="*/ 208785 h 765639"/>
                <a:gd name="connsiteX37" fmla="*/ 1592294 w 9182100"/>
                <a:gd name="connsiteY37" fmla="*/ 221643 h 765639"/>
                <a:gd name="connsiteX38" fmla="*/ 1500092 w 9182100"/>
                <a:gd name="connsiteY38" fmla="*/ 245551 h 765639"/>
                <a:gd name="connsiteX39" fmla="*/ 1130046 w 9182100"/>
                <a:gd name="connsiteY39" fmla="*/ 318227 h 765639"/>
                <a:gd name="connsiteX40" fmla="*/ 944880 w 9182100"/>
                <a:gd name="connsiteY40" fmla="*/ 337658 h 765639"/>
                <a:gd name="connsiteX41" fmla="*/ 852583 w 9182100"/>
                <a:gd name="connsiteY41" fmla="*/ 341944 h 765639"/>
                <a:gd name="connsiteX42" fmla="*/ 760476 w 9182100"/>
                <a:gd name="connsiteY42" fmla="*/ 343087 h 765639"/>
                <a:gd name="connsiteX43" fmla="*/ 577215 w 9182100"/>
                <a:gd name="connsiteY43" fmla="*/ 332800 h 765639"/>
                <a:gd name="connsiteX44" fmla="*/ 394907 w 9182100"/>
                <a:gd name="connsiteY44" fmla="*/ 305463 h 765639"/>
                <a:gd name="connsiteX45" fmla="*/ 211265 w 9182100"/>
                <a:gd name="connsiteY45" fmla="*/ 261363 h 765639"/>
                <a:gd name="connsiteX46" fmla="*/ 17526 w 9182100"/>
                <a:gd name="connsiteY46" fmla="*/ 204880 h 765639"/>
                <a:gd name="connsiteX47" fmla="*/ 0 w 9182100"/>
                <a:gd name="connsiteY47" fmla="*/ 199927 h 765639"/>
                <a:gd name="connsiteX48" fmla="*/ 0 w 9182100"/>
                <a:gd name="connsiteY48" fmla="*/ 526920 h 765639"/>
                <a:gd name="connsiteX49" fmla="*/ 100298 w 9182100"/>
                <a:gd name="connsiteY49" fmla="*/ 571973 h 765639"/>
                <a:gd name="connsiteX50" fmla="*/ 301562 w 9182100"/>
                <a:gd name="connsiteY50" fmla="*/ 649697 h 765639"/>
                <a:gd name="connsiteX51" fmla="*/ 731044 w 9182100"/>
                <a:gd name="connsiteY51" fmla="*/ 746947 h 765639"/>
                <a:gd name="connsiteX52" fmla="*/ 1168241 w 9182100"/>
                <a:gd name="connsiteY52" fmla="*/ 762759 h 765639"/>
                <a:gd name="connsiteX53" fmla="*/ 1596581 w 9182100"/>
                <a:gd name="connsiteY53" fmla="*/ 716944 h 765639"/>
                <a:gd name="connsiteX54" fmla="*/ 1701641 w 9182100"/>
                <a:gd name="connsiteY54" fmla="*/ 697894 h 765639"/>
                <a:gd name="connsiteX55" fmla="*/ 1752124 w 9182100"/>
                <a:gd name="connsiteY55" fmla="*/ 688273 h 765639"/>
                <a:gd name="connsiteX56" fmla="*/ 1797939 w 9182100"/>
                <a:gd name="connsiteY56" fmla="*/ 679891 h 765639"/>
                <a:gd name="connsiteX57" fmla="*/ 1988630 w 9182100"/>
                <a:gd name="connsiteY57" fmla="*/ 649316 h 765639"/>
                <a:gd name="connsiteX58" fmla="*/ 2376297 w 9182100"/>
                <a:gd name="connsiteY58" fmla="*/ 601691 h 765639"/>
                <a:gd name="connsiteX59" fmla="*/ 2570416 w 9182100"/>
                <a:gd name="connsiteY59" fmla="*/ 584165 h 765639"/>
                <a:gd name="connsiteX60" fmla="*/ 2764155 w 9182100"/>
                <a:gd name="connsiteY60" fmla="*/ 571497 h 765639"/>
                <a:gd name="connsiteX61" fmla="*/ 2956941 w 9182100"/>
                <a:gd name="connsiteY61" fmla="*/ 564163 h 765639"/>
                <a:gd name="connsiteX62" fmla="*/ 3148298 w 9182100"/>
                <a:gd name="connsiteY62" fmla="*/ 562639 h 765639"/>
                <a:gd name="connsiteX63" fmla="*/ 3337274 w 9182100"/>
                <a:gd name="connsiteY63" fmla="*/ 568544 h 765639"/>
                <a:gd name="connsiteX64" fmla="*/ 3522345 w 9182100"/>
                <a:gd name="connsiteY64" fmla="*/ 583308 h 765639"/>
                <a:gd name="connsiteX65" fmla="*/ 3567779 w 9182100"/>
                <a:gd name="connsiteY65" fmla="*/ 588642 h 765639"/>
                <a:gd name="connsiteX66" fmla="*/ 3613785 w 9182100"/>
                <a:gd name="connsiteY66" fmla="*/ 594357 h 765639"/>
                <a:gd name="connsiteX67" fmla="*/ 3713798 w 9182100"/>
                <a:gd name="connsiteY67" fmla="*/ 607882 h 765639"/>
                <a:gd name="connsiteX68" fmla="*/ 3913823 w 9182100"/>
                <a:gd name="connsiteY68" fmla="*/ 634838 h 765639"/>
                <a:gd name="connsiteX69" fmla="*/ 4315873 w 9182100"/>
                <a:gd name="connsiteY69" fmla="*/ 686273 h 765639"/>
                <a:gd name="connsiteX70" fmla="*/ 4517422 w 9182100"/>
                <a:gd name="connsiteY70" fmla="*/ 710086 h 765639"/>
                <a:gd name="connsiteX71" fmla="*/ 4728972 w 9182100"/>
                <a:gd name="connsiteY71" fmla="*/ 731422 h 765639"/>
                <a:gd name="connsiteX72" fmla="*/ 5162931 w 9182100"/>
                <a:gd name="connsiteY72" fmla="*/ 744185 h 765639"/>
                <a:gd name="connsiteX73" fmla="*/ 5594033 w 9182100"/>
                <a:gd name="connsiteY73" fmla="*/ 706466 h 765639"/>
                <a:gd name="connsiteX74" fmla="*/ 5982939 w 9182100"/>
                <a:gd name="connsiteY74" fmla="*/ 655793 h 765639"/>
                <a:gd name="connsiteX75" fmla="*/ 6075045 w 9182100"/>
                <a:gd name="connsiteY75" fmla="*/ 648459 h 765639"/>
                <a:gd name="connsiteX76" fmla="*/ 6167819 w 9182100"/>
                <a:gd name="connsiteY76" fmla="*/ 643887 h 765639"/>
                <a:gd name="connsiteX77" fmla="*/ 6361081 w 9182100"/>
                <a:gd name="connsiteY77" fmla="*/ 639124 h 765639"/>
                <a:gd name="connsiteX78" fmla="*/ 6757321 w 9182100"/>
                <a:gd name="connsiteY78" fmla="*/ 640458 h 765639"/>
                <a:gd name="connsiteX79" fmla="*/ 7156704 w 9182100"/>
                <a:gd name="connsiteY79" fmla="*/ 649030 h 765639"/>
                <a:gd name="connsiteX80" fmla="*/ 7556373 w 9182100"/>
                <a:gd name="connsiteY80" fmla="*/ 662365 h 765639"/>
                <a:gd name="connsiteX81" fmla="*/ 7952328 w 9182100"/>
                <a:gd name="connsiteY81" fmla="*/ 682177 h 765639"/>
                <a:gd name="connsiteX82" fmla="*/ 8000714 w 9182100"/>
                <a:gd name="connsiteY82" fmla="*/ 685511 h 765639"/>
                <a:gd name="connsiteX83" fmla="*/ 8047196 w 9182100"/>
                <a:gd name="connsiteY83" fmla="*/ 689416 h 765639"/>
                <a:gd name="connsiteX84" fmla="*/ 8097965 w 9182100"/>
                <a:gd name="connsiteY84" fmla="*/ 693893 h 765639"/>
                <a:gd name="connsiteX85" fmla="*/ 8152733 w 9182100"/>
                <a:gd name="connsiteY85" fmla="*/ 697894 h 765639"/>
                <a:gd name="connsiteX86" fmla="*/ 8363903 w 9182100"/>
                <a:gd name="connsiteY86" fmla="*/ 705133 h 765639"/>
                <a:gd name="connsiteX87" fmla="*/ 8777764 w 9182100"/>
                <a:gd name="connsiteY87" fmla="*/ 698084 h 765639"/>
                <a:gd name="connsiteX88" fmla="*/ 9182005 w 9182100"/>
                <a:gd name="connsiteY88" fmla="*/ 668366 h 765639"/>
                <a:gd name="connsiteX89" fmla="*/ 9182005 w 9182100"/>
                <a:gd name="connsiteY89" fmla="*/ 351088 h 765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9182100" h="765639">
                  <a:moveTo>
                    <a:pt x="9182100" y="351088"/>
                  </a:moveTo>
                  <a:cubicBezTo>
                    <a:pt x="9180862" y="351088"/>
                    <a:pt x="9179719" y="350993"/>
                    <a:pt x="9178480" y="350993"/>
                  </a:cubicBezTo>
                  <a:cubicBezTo>
                    <a:pt x="9047607" y="346421"/>
                    <a:pt x="8915591" y="337944"/>
                    <a:pt x="8783955" y="327561"/>
                  </a:cubicBezTo>
                  <a:cubicBezTo>
                    <a:pt x="8652320" y="316894"/>
                    <a:pt x="8520589" y="304416"/>
                    <a:pt x="8390763" y="288795"/>
                  </a:cubicBezTo>
                  <a:cubicBezTo>
                    <a:pt x="8325898" y="281175"/>
                    <a:pt x="8261509" y="272602"/>
                    <a:pt x="8199502" y="262601"/>
                  </a:cubicBezTo>
                  <a:cubicBezTo>
                    <a:pt x="8184070" y="260029"/>
                    <a:pt x="8168831" y="257553"/>
                    <a:pt x="8153972" y="254886"/>
                  </a:cubicBezTo>
                  <a:lnTo>
                    <a:pt x="8131588" y="250790"/>
                  </a:lnTo>
                  <a:lnTo>
                    <a:pt x="8104632" y="246504"/>
                  </a:lnTo>
                  <a:cubicBezTo>
                    <a:pt x="8086725" y="243741"/>
                    <a:pt x="8068247" y="240598"/>
                    <a:pt x="8050911" y="238217"/>
                  </a:cubicBezTo>
                  <a:lnTo>
                    <a:pt x="7998810" y="230978"/>
                  </a:lnTo>
                  <a:cubicBezTo>
                    <a:pt x="7860697" y="212023"/>
                    <a:pt x="7725633" y="198021"/>
                    <a:pt x="7589902" y="183925"/>
                  </a:cubicBezTo>
                  <a:cubicBezTo>
                    <a:pt x="7454360" y="170304"/>
                    <a:pt x="7319010" y="158779"/>
                    <a:pt x="7183469" y="147634"/>
                  </a:cubicBezTo>
                  <a:cubicBezTo>
                    <a:pt x="7047929" y="137252"/>
                    <a:pt x="6912198" y="127632"/>
                    <a:pt x="6775990" y="119821"/>
                  </a:cubicBezTo>
                  <a:cubicBezTo>
                    <a:pt x="6639592" y="112582"/>
                    <a:pt x="6503194" y="105439"/>
                    <a:pt x="6364795" y="102391"/>
                  </a:cubicBezTo>
                  <a:cubicBezTo>
                    <a:pt x="6295263" y="101057"/>
                    <a:pt x="6225826" y="99819"/>
                    <a:pt x="6154293" y="100581"/>
                  </a:cubicBezTo>
                  <a:cubicBezTo>
                    <a:pt x="6136577" y="100581"/>
                    <a:pt x="6118860" y="100581"/>
                    <a:pt x="6100287" y="101343"/>
                  </a:cubicBezTo>
                  <a:cubicBezTo>
                    <a:pt x="6081903" y="101819"/>
                    <a:pt x="6063615" y="102486"/>
                    <a:pt x="6045327" y="103438"/>
                  </a:cubicBezTo>
                  <a:cubicBezTo>
                    <a:pt x="6008656" y="104962"/>
                    <a:pt x="5972175" y="107439"/>
                    <a:pt x="5935980" y="110296"/>
                  </a:cubicBezTo>
                  <a:cubicBezTo>
                    <a:pt x="5790724" y="121631"/>
                    <a:pt x="5651659" y="142110"/>
                    <a:pt x="5523357" y="157635"/>
                  </a:cubicBezTo>
                  <a:cubicBezTo>
                    <a:pt x="5394484" y="173542"/>
                    <a:pt x="5273040" y="183543"/>
                    <a:pt x="5149882" y="185639"/>
                  </a:cubicBezTo>
                  <a:cubicBezTo>
                    <a:pt x="5027010" y="187925"/>
                    <a:pt x="4902803" y="182210"/>
                    <a:pt x="4777073" y="170685"/>
                  </a:cubicBezTo>
                  <a:lnTo>
                    <a:pt x="4729925" y="166208"/>
                  </a:lnTo>
                  <a:lnTo>
                    <a:pt x="4682585" y="161064"/>
                  </a:lnTo>
                  <a:cubicBezTo>
                    <a:pt x="4666869" y="159445"/>
                    <a:pt x="4650963" y="157350"/>
                    <a:pt x="4635151" y="155445"/>
                  </a:cubicBezTo>
                  <a:lnTo>
                    <a:pt x="4611434" y="152492"/>
                  </a:lnTo>
                  <a:cubicBezTo>
                    <a:pt x="4603623" y="151539"/>
                    <a:pt x="4595622" y="150587"/>
                    <a:pt x="4587145" y="149349"/>
                  </a:cubicBezTo>
                  <a:lnTo>
                    <a:pt x="4387977" y="122774"/>
                  </a:lnTo>
                  <a:lnTo>
                    <a:pt x="3989356" y="68577"/>
                  </a:lnTo>
                  <a:lnTo>
                    <a:pt x="3789140" y="42192"/>
                  </a:lnTo>
                  <a:lnTo>
                    <a:pt x="3689033" y="29143"/>
                  </a:lnTo>
                  <a:lnTo>
                    <a:pt x="3634835" y="22571"/>
                  </a:lnTo>
                  <a:cubicBezTo>
                    <a:pt x="3616452" y="20285"/>
                    <a:pt x="3598069" y="18380"/>
                    <a:pt x="3579876" y="16856"/>
                  </a:cubicBezTo>
                  <a:cubicBezTo>
                    <a:pt x="3433667" y="3140"/>
                    <a:pt x="3289840" y="-1622"/>
                    <a:pt x="3147441" y="473"/>
                  </a:cubicBezTo>
                  <a:cubicBezTo>
                    <a:pt x="3005138" y="2283"/>
                    <a:pt x="2864263" y="10188"/>
                    <a:pt x="2724722" y="22857"/>
                  </a:cubicBezTo>
                  <a:cubicBezTo>
                    <a:pt x="2445353" y="48098"/>
                    <a:pt x="2171129" y="90198"/>
                    <a:pt x="1898428" y="147730"/>
                  </a:cubicBezTo>
                  <a:cubicBezTo>
                    <a:pt x="1830134" y="162208"/>
                    <a:pt x="1762030" y="177448"/>
                    <a:pt x="1692878" y="195069"/>
                  </a:cubicBezTo>
                  <a:lnTo>
                    <a:pt x="1640205" y="208785"/>
                  </a:lnTo>
                  <a:lnTo>
                    <a:pt x="1592294" y="221643"/>
                  </a:lnTo>
                  <a:cubicBezTo>
                    <a:pt x="1561624" y="229740"/>
                    <a:pt x="1530858" y="238503"/>
                    <a:pt x="1500092" y="245551"/>
                  </a:cubicBezTo>
                  <a:cubicBezTo>
                    <a:pt x="1377125" y="276412"/>
                    <a:pt x="1253490" y="300987"/>
                    <a:pt x="1130046" y="318227"/>
                  </a:cubicBezTo>
                  <a:cubicBezTo>
                    <a:pt x="1068229" y="326895"/>
                    <a:pt x="1006602" y="333086"/>
                    <a:pt x="944880" y="337658"/>
                  </a:cubicBezTo>
                  <a:cubicBezTo>
                    <a:pt x="914114" y="339277"/>
                    <a:pt x="883253" y="341563"/>
                    <a:pt x="852583" y="341944"/>
                  </a:cubicBezTo>
                  <a:cubicBezTo>
                    <a:pt x="821817" y="343278"/>
                    <a:pt x="791147" y="342992"/>
                    <a:pt x="760476" y="343087"/>
                  </a:cubicBezTo>
                  <a:cubicBezTo>
                    <a:pt x="699230" y="342135"/>
                    <a:pt x="638175" y="338706"/>
                    <a:pt x="577215" y="332800"/>
                  </a:cubicBezTo>
                  <a:cubicBezTo>
                    <a:pt x="516255" y="326895"/>
                    <a:pt x="455771" y="317179"/>
                    <a:pt x="394907" y="305463"/>
                  </a:cubicBezTo>
                  <a:cubicBezTo>
                    <a:pt x="334137" y="293557"/>
                    <a:pt x="273368" y="278412"/>
                    <a:pt x="211265" y="261363"/>
                  </a:cubicBezTo>
                  <a:cubicBezTo>
                    <a:pt x="149066" y="244123"/>
                    <a:pt x="85820" y="224310"/>
                    <a:pt x="17526" y="204880"/>
                  </a:cubicBezTo>
                  <a:cubicBezTo>
                    <a:pt x="11716" y="203165"/>
                    <a:pt x="5906" y="201546"/>
                    <a:pt x="0" y="199927"/>
                  </a:cubicBezTo>
                  <a:lnTo>
                    <a:pt x="0" y="526920"/>
                  </a:lnTo>
                  <a:cubicBezTo>
                    <a:pt x="32576" y="541874"/>
                    <a:pt x="66104" y="557114"/>
                    <a:pt x="100298" y="571973"/>
                  </a:cubicBezTo>
                  <a:cubicBezTo>
                    <a:pt x="164973" y="600167"/>
                    <a:pt x="232410" y="626456"/>
                    <a:pt x="301562" y="649697"/>
                  </a:cubicBezTo>
                  <a:cubicBezTo>
                    <a:pt x="439865" y="696655"/>
                    <a:pt x="585216" y="728754"/>
                    <a:pt x="731044" y="746947"/>
                  </a:cubicBezTo>
                  <a:cubicBezTo>
                    <a:pt x="876967" y="764664"/>
                    <a:pt x="1023652" y="769426"/>
                    <a:pt x="1168241" y="762759"/>
                  </a:cubicBezTo>
                  <a:cubicBezTo>
                    <a:pt x="1313021" y="756663"/>
                    <a:pt x="1455896" y="740185"/>
                    <a:pt x="1596581" y="716944"/>
                  </a:cubicBezTo>
                  <a:cubicBezTo>
                    <a:pt x="1632014" y="711610"/>
                    <a:pt x="1666685" y="704371"/>
                    <a:pt x="1701641" y="697894"/>
                  </a:cubicBezTo>
                  <a:lnTo>
                    <a:pt x="1752124" y="688273"/>
                  </a:lnTo>
                  <a:lnTo>
                    <a:pt x="1797939" y="679891"/>
                  </a:lnTo>
                  <a:cubicBezTo>
                    <a:pt x="1860328" y="669128"/>
                    <a:pt x="1924431" y="658746"/>
                    <a:pt x="1988630" y="649316"/>
                  </a:cubicBezTo>
                  <a:cubicBezTo>
                    <a:pt x="2117217" y="630838"/>
                    <a:pt x="2246852" y="614645"/>
                    <a:pt x="2376297" y="601691"/>
                  </a:cubicBezTo>
                  <a:cubicBezTo>
                    <a:pt x="2441067" y="595214"/>
                    <a:pt x="2505742" y="589118"/>
                    <a:pt x="2570416" y="584165"/>
                  </a:cubicBezTo>
                  <a:cubicBezTo>
                    <a:pt x="2635091" y="579402"/>
                    <a:pt x="2699671" y="574831"/>
                    <a:pt x="2764155" y="571497"/>
                  </a:cubicBezTo>
                  <a:cubicBezTo>
                    <a:pt x="2828639" y="568068"/>
                    <a:pt x="2892933" y="565401"/>
                    <a:pt x="2956941" y="564163"/>
                  </a:cubicBezTo>
                  <a:cubicBezTo>
                    <a:pt x="3021045" y="562353"/>
                    <a:pt x="3084766" y="561972"/>
                    <a:pt x="3148298" y="562639"/>
                  </a:cubicBezTo>
                  <a:cubicBezTo>
                    <a:pt x="3211735" y="563305"/>
                    <a:pt x="3274695" y="565591"/>
                    <a:pt x="3337274" y="568544"/>
                  </a:cubicBezTo>
                  <a:cubicBezTo>
                    <a:pt x="3399568" y="572259"/>
                    <a:pt x="3461671" y="576259"/>
                    <a:pt x="3522345" y="583308"/>
                  </a:cubicBezTo>
                  <a:cubicBezTo>
                    <a:pt x="3537680" y="584737"/>
                    <a:pt x="3552730" y="586737"/>
                    <a:pt x="3567779" y="588642"/>
                  </a:cubicBezTo>
                  <a:lnTo>
                    <a:pt x="3613785" y="594357"/>
                  </a:lnTo>
                  <a:lnTo>
                    <a:pt x="3713798" y="607882"/>
                  </a:lnTo>
                  <a:lnTo>
                    <a:pt x="3913823" y="634838"/>
                  </a:lnTo>
                  <a:cubicBezTo>
                    <a:pt x="4047268" y="652078"/>
                    <a:pt x="4180904" y="670366"/>
                    <a:pt x="4315873" y="686273"/>
                  </a:cubicBezTo>
                  <a:lnTo>
                    <a:pt x="4517422" y="710086"/>
                  </a:lnTo>
                  <a:cubicBezTo>
                    <a:pt x="4586573" y="717896"/>
                    <a:pt x="4657916" y="725992"/>
                    <a:pt x="4728972" y="731422"/>
                  </a:cubicBezTo>
                  <a:cubicBezTo>
                    <a:pt x="4871371" y="743042"/>
                    <a:pt x="5016627" y="748376"/>
                    <a:pt x="5162931" y="744185"/>
                  </a:cubicBezTo>
                  <a:cubicBezTo>
                    <a:pt x="5308949" y="740566"/>
                    <a:pt x="5456111" y="725611"/>
                    <a:pt x="5594033" y="706466"/>
                  </a:cubicBezTo>
                  <a:cubicBezTo>
                    <a:pt x="5732621" y="687511"/>
                    <a:pt x="5859876" y="667033"/>
                    <a:pt x="5982939" y="655793"/>
                  </a:cubicBezTo>
                  <a:cubicBezTo>
                    <a:pt x="6013799" y="652936"/>
                    <a:pt x="6044375" y="650364"/>
                    <a:pt x="6075045" y="648459"/>
                  </a:cubicBezTo>
                  <a:cubicBezTo>
                    <a:pt x="6105906" y="646363"/>
                    <a:pt x="6135529" y="645125"/>
                    <a:pt x="6167819" y="643887"/>
                  </a:cubicBezTo>
                  <a:cubicBezTo>
                    <a:pt x="6230779" y="641125"/>
                    <a:pt x="6295930" y="640077"/>
                    <a:pt x="6361081" y="639124"/>
                  </a:cubicBezTo>
                  <a:cubicBezTo>
                    <a:pt x="6491955" y="637981"/>
                    <a:pt x="6624638" y="638553"/>
                    <a:pt x="6757321" y="640458"/>
                  </a:cubicBezTo>
                  <a:cubicBezTo>
                    <a:pt x="6890195" y="642553"/>
                    <a:pt x="7023449" y="645030"/>
                    <a:pt x="7156704" y="649030"/>
                  </a:cubicBezTo>
                  <a:cubicBezTo>
                    <a:pt x="7289959" y="652650"/>
                    <a:pt x="7423404" y="656841"/>
                    <a:pt x="7556373" y="662365"/>
                  </a:cubicBezTo>
                  <a:cubicBezTo>
                    <a:pt x="7689152" y="667509"/>
                    <a:pt x="7822502" y="673986"/>
                    <a:pt x="7952328" y="682177"/>
                  </a:cubicBezTo>
                  <a:lnTo>
                    <a:pt x="8000714" y="685511"/>
                  </a:lnTo>
                  <a:cubicBezTo>
                    <a:pt x="8016811" y="686654"/>
                    <a:pt x="8031670" y="688178"/>
                    <a:pt x="8047196" y="689416"/>
                  </a:cubicBezTo>
                  <a:lnTo>
                    <a:pt x="8097965" y="693893"/>
                  </a:lnTo>
                  <a:cubicBezTo>
                    <a:pt x="8116539" y="695417"/>
                    <a:pt x="8134731" y="696846"/>
                    <a:pt x="8152733" y="697894"/>
                  </a:cubicBezTo>
                  <a:cubicBezTo>
                    <a:pt x="8224647" y="701989"/>
                    <a:pt x="8294465" y="704085"/>
                    <a:pt x="8363903" y="705133"/>
                  </a:cubicBezTo>
                  <a:cubicBezTo>
                    <a:pt x="8502777" y="706657"/>
                    <a:pt x="8640223" y="704180"/>
                    <a:pt x="8777764" y="698084"/>
                  </a:cubicBezTo>
                  <a:cubicBezTo>
                    <a:pt x="8912352" y="692083"/>
                    <a:pt x="9046845" y="682749"/>
                    <a:pt x="9182005" y="668366"/>
                  </a:cubicBezTo>
                  <a:lnTo>
                    <a:pt x="9182005" y="351088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F8F5B5-124A-F154-052F-8A506136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19439C65-DEC7-4726-875D-45A3F8C8961A}" type="slidenum">
              <a:rPr lang="en-US" altLang="de-DE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7</a:t>
            </a:fld>
            <a:endParaRPr lang="en-US" altLang="de-DE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43476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600" name="Rectangle 24599">
            <a:extLst>
              <a:ext uri="{FF2B5EF4-FFF2-40B4-BE49-F238E27FC236}">
                <a16:creationId xmlns:a16="http://schemas.microsoft.com/office/drawing/2014/main" id="{6F40FBDA-CEB1-40F0-9AB9-BD9C402D70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578" name="Picture 2" descr="Team Meeting Vector Art, Icons, and Graphics for Free Download">
            <a:extLst>
              <a:ext uri="{FF2B5EF4-FFF2-40B4-BE49-F238E27FC236}">
                <a16:creationId xmlns:a16="http://schemas.microsoft.com/office/drawing/2014/main" id="{C141D347-358D-430F-4A70-339ACCD666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4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4"/>
          <a:stretch/>
        </p:blipFill>
        <p:spPr bwMode="auto">
          <a:xfrm>
            <a:off x="20" y="1"/>
            <a:ext cx="12191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602" name="Rectangle 24601">
            <a:extLst>
              <a:ext uri="{FF2B5EF4-FFF2-40B4-BE49-F238E27FC236}">
                <a16:creationId xmlns:a16="http://schemas.microsoft.com/office/drawing/2014/main" id="{0344D4FE-ABEF-4230-9E4E-AD5782FC7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07870" y="1267730"/>
            <a:ext cx="9576262" cy="4307950"/>
          </a:xfrm>
          <a:prstGeom prst="rect">
            <a:avLst/>
          </a:prstGeom>
          <a:noFill/>
          <a:ln w="9525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>
            <a:softEdge rad="0"/>
          </a:effectLst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014735-FD66-B0C9-CF3E-F3B7338BE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9532" y="1695576"/>
            <a:ext cx="8652938" cy="285719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8000"/>
              <a:t>Any other business</a:t>
            </a:r>
          </a:p>
        </p:txBody>
      </p:sp>
      <p:sp>
        <p:nvSpPr>
          <p:cNvPr id="24604" name="Rectangle 24603">
            <a:extLst>
              <a:ext uri="{FF2B5EF4-FFF2-40B4-BE49-F238E27FC236}">
                <a16:creationId xmlns:a16="http://schemas.microsoft.com/office/drawing/2014/main" id="{9325F979-D3F9-4926-81B7-7ACCB31A50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447801" y="1411615"/>
            <a:ext cx="9296400" cy="4034770"/>
          </a:xfrm>
          <a:prstGeom prst="rect">
            <a:avLst/>
          </a:prstGeom>
          <a:noFill/>
          <a:ln w="9525" cap="sq" cmpd="sng" algn="ctr">
            <a:solidFill>
              <a:schemeClr val="tx1">
                <a:lumMod val="75000"/>
                <a:lumOff val="25000"/>
                <a:alpha val="80000"/>
              </a:schemeClr>
            </a:solidFill>
            <a:prstDash val="solid"/>
            <a:miter lim="800000"/>
          </a:ln>
          <a:effectLst/>
        </p:spPr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33E6E4-1B1F-B106-4F4C-4CD987702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19439C65-DEC7-4726-875D-45A3F8C8961A}" type="slidenum">
              <a:rPr lang="en-US" altLang="de-DE">
                <a:solidFill>
                  <a:schemeClr val="tx1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8</a:t>
            </a:fld>
            <a:endParaRPr lang="en-US" altLang="de-DE">
              <a:solidFill>
                <a:schemeClr val="tx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19279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6A5B89-5E5D-4FDF-935C-1D0F9C35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98971"/>
          </a:xfrm>
        </p:spPr>
        <p:txBody>
          <a:bodyPr>
            <a:normAutofit fontScale="90000"/>
          </a:bodyPr>
          <a:lstStyle/>
          <a:p>
            <a:r>
              <a:rPr lang="en-US" sz="4000"/>
              <a:t>Agenda</a:t>
            </a:r>
            <a:endParaRPr lang="en-GB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27908-B431-4CCE-BC97-D09D9F4DB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9C65-DEC7-4726-875D-45A3F8C8961A}" type="slidenum">
              <a:rPr lang="en-GB" altLang="de-DE" smtClean="0"/>
              <a:pPr/>
              <a:t>9</a:t>
            </a:fld>
            <a:endParaRPr lang="en-GB" alt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F69942-E3F9-4EA8-9578-32C0B8B628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9876" y="1373332"/>
            <a:ext cx="5101827" cy="38773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  <a:effectLst/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rPr>
              <a:t>Approval of last call minutes and meeting agenda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eSI Strategic Refresh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unch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I accounts and budget</a:t>
            </a:r>
            <a:endParaRPr lang="en-GB" sz="1800" dirty="0">
              <a:solidFill>
                <a:schemeClr val="bg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US" sz="1800" dirty="0">
                <a:solidFill>
                  <a:schemeClr val="bg1">
                    <a:lumMod val="75000"/>
                  </a:schemeClr>
                </a:solidFill>
                <a:effectLst/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rPr>
              <a:t>Overview of General Assembly</a:t>
            </a: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dirty="0" err="1">
                <a:solidFill>
                  <a:schemeClr val="bg1">
                    <a:lumMod val="75000"/>
                  </a:schemeClr>
                </a:solidFill>
                <a:effectLst/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rPr>
              <a:t>EcoVadis</a:t>
            </a:r>
            <a:endParaRPr lang="en-GB" sz="1800" dirty="0">
              <a:solidFill>
                <a:schemeClr val="bg1">
                  <a:lumMod val="75000"/>
                </a:schemeClr>
              </a:solidFill>
              <a:ea typeface="Corbel" panose="020B0503020204020204" pitchFamily="34" charset="0"/>
              <a:cs typeface="Corbel" panose="020B0503020204020204" pitchFamily="34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en-GB" sz="1800" dirty="0">
                <a:solidFill>
                  <a:schemeClr val="bg1">
                    <a:lumMod val="75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y other business</a:t>
            </a:r>
            <a:endParaRPr lang="en-GB" sz="1800" dirty="0">
              <a:solidFill>
                <a:schemeClr val="bg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spcAft>
                <a:spcPts val="1000"/>
              </a:spcAft>
              <a:buFont typeface="+mj-lt"/>
              <a:buAutoNum type="alphaLcPeriod"/>
            </a:pPr>
            <a:endParaRPr lang="en-GB" sz="1400" dirty="0">
              <a:solidFill>
                <a:schemeClr val="bg1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F58EE6-811C-451F-A5D0-F6E5EF8E7F0A}"/>
              </a:ext>
            </a:extLst>
          </p:cNvPr>
          <p:cNvSpPr txBox="1"/>
          <p:nvPr/>
        </p:nvSpPr>
        <p:spPr>
          <a:xfrm>
            <a:off x="5761703" y="1373332"/>
            <a:ext cx="6234260" cy="37888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lvl="0" indent="-342900">
              <a:lnSpc>
                <a:spcPct val="150000"/>
              </a:lnSpc>
              <a:buFont typeface="+mj-lt"/>
              <a:buAutoNum type="arabicPeriod" startAt="6"/>
            </a:pP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ents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6-20</a:t>
            </a:r>
            <a:r>
              <a:rPr lang="en-AU" baseline="30000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January </a:t>
            </a: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World Economic Forum Annual Davos Meeting</a:t>
            </a:r>
            <a:endParaRPr lang="en-AU" dirty="0">
              <a:effectLst/>
              <a:latin typeface="Corbel" panose="020B0503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-9</a:t>
            </a:r>
            <a:r>
              <a:rPr lang="en-AU" baseline="30000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ebruary – 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Sustainability Week Asia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ingapore</a:t>
            </a:r>
            <a:endParaRPr lang="en-AU" dirty="0">
              <a:effectLst/>
              <a:latin typeface="Corbel" panose="020B0503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-17</a:t>
            </a:r>
            <a:r>
              <a:rPr lang="en-AU" baseline="30000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y – 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Big 5G Event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ustin TX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une 2023 – 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Responsible Business Europe</a:t>
            </a:r>
            <a:r>
              <a:rPr lang="en-GB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London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-22</a:t>
            </a:r>
            <a:r>
              <a:rPr lang="en-GB" baseline="30000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d</a:t>
            </a: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une – </a:t>
            </a: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European Sustainable Energy Week</a:t>
            </a:r>
            <a:r>
              <a:rPr lang="en-GB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Brussels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lphaLcPeriod"/>
            </a:pP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7-29</a:t>
            </a:r>
            <a:r>
              <a:rPr lang="en-AU" baseline="30000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AU" dirty="0"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ptember </a:t>
            </a:r>
            <a:r>
              <a:rPr lang="en-AU" dirty="0"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DWP Global Summit, Lisbon PT</a:t>
            </a:r>
            <a:endParaRPr lang="en-GB" dirty="0">
              <a:effectLst/>
              <a:latin typeface="Corbel" panose="020B05030202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216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092781e-3f54-4fa9-91a7-745b7c2f6664">
      <UserInfo>
        <DisplayName>Flavia Maragno</DisplayName>
        <AccountId>81</AccountId>
        <AccountType/>
      </UserInfo>
      <UserInfo>
        <DisplayName>Luis Neves</DisplayName>
        <AccountId>14</AccountId>
        <AccountType/>
      </UserInfo>
    </SharedWithUsers>
    <TaxCatchAll xmlns="f092781e-3f54-4fa9-91a7-745b7c2f6664" xsi:nil="true"/>
    <lcf76f155ced4ddcb4097134ff3c332f xmlns="f99c0669-52bc-4279-a090-29eef09d13bb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494C761ABA434D8FB447DC63CEA258" ma:contentTypeVersion="16" ma:contentTypeDescription="Create a new document." ma:contentTypeScope="" ma:versionID="6e34da75e18269449449696b621ee463">
  <xsd:schema xmlns:xsd="http://www.w3.org/2001/XMLSchema" xmlns:xs="http://www.w3.org/2001/XMLSchema" xmlns:p="http://schemas.microsoft.com/office/2006/metadata/properties" xmlns:ns2="f99c0669-52bc-4279-a090-29eef09d13bb" xmlns:ns3="f092781e-3f54-4fa9-91a7-745b7c2f6664" targetNamespace="http://schemas.microsoft.com/office/2006/metadata/properties" ma:root="true" ma:fieldsID="60595edaf8474eaf386c9abd4d58d027" ns2:_="" ns3:_="">
    <xsd:import namespace="f99c0669-52bc-4279-a090-29eef09d13bb"/>
    <xsd:import namespace="f092781e-3f54-4fa9-91a7-745b7c2f66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9c0669-52bc-4279-a090-29eef09d13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4d1964da-4f32-444e-8f26-606dcd40b0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92781e-3f54-4fa9-91a7-745b7c2f666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8e7940d-a163-4b39-90da-7e0897f50406}" ma:internalName="TaxCatchAll" ma:showField="CatchAllData" ma:web="f092781e-3f54-4fa9-91a7-745b7c2f66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651724A-AF7E-4704-8061-47D4BB666B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3558D9-4F96-4A83-B763-8D5F5F0BD3E0}">
  <ds:schemaRefs>
    <ds:schemaRef ds:uri="f092781e-3f54-4fa9-91a7-745b7c2f6664"/>
    <ds:schemaRef ds:uri="f99c0669-52bc-4279-a090-29eef09d13bb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CC627AA-4BBE-4B49-8DF0-0F0B1831425C}">
  <ds:schemaRefs>
    <ds:schemaRef ds:uri="f092781e-3f54-4fa9-91a7-745b7c2f6664"/>
    <ds:schemaRef ds:uri="f99c0669-52bc-4279-a090-29eef09d13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</TotalTime>
  <Words>295</Words>
  <Application>Microsoft Office PowerPoint</Application>
  <PresentationFormat>Widescreen</PresentationFormat>
  <Paragraphs>64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Corbel</vt:lpstr>
      <vt:lpstr>Wingdings</vt:lpstr>
      <vt:lpstr>Office Theme</vt:lpstr>
      <vt:lpstr>think-cell Slide</vt:lpstr>
      <vt:lpstr>PowerPoint Presentation</vt:lpstr>
      <vt:lpstr>Agenda</vt:lpstr>
      <vt:lpstr>Board Meeting &amp; General Assembly: Strategy Brief</vt:lpstr>
      <vt:lpstr>LUNCH</vt:lpstr>
      <vt:lpstr>GeSI Accounts and 2023 Budget</vt:lpstr>
      <vt:lpstr>Overview of General Assembly</vt:lpstr>
      <vt:lpstr>EcoVadis Methodology</vt:lpstr>
      <vt:lpstr>Any other business</vt:lpstr>
      <vt:lpstr>Agend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iara Venturini</dc:creator>
  <cp:lastModifiedBy>Kaoru Inoue</cp:lastModifiedBy>
  <cp:revision>3</cp:revision>
  <dcterms:created xsi:type="dcterms:W3CDTF">2019-02-13T14:49:50Z</dcterms:created>
  <dcterms:modified xsi:type="dcterms:W3CDTF">2022-12-04T22:0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494C761ABA434D8FB447DC63CEA258</vt:lpwstr>
  </property>
  <property fmtid="{D5CDD505-2E9C-101B-9397-08002B2CF9AE}" pid="3" name="MediaServiceImageTags">
    <vt:lpwstr/>
  </property>
</Properties>
</file>